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6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726" r:id="rId4"/>
    <p:sldMasterId id="2147483736" r:id="rId5"/>
    <p:sldMasterId id="2147483746" r:id="rId6"/>
    <p:sldMasterId id="2147483756" r:id="rId7"/>
    <p:sldMasterId id="2147483829" r:id="rId8"/>
    <p:sldMasterId id="2147483859" r:id="rId9"/>
    <p:sldMasterId id="2147483870" r:id="rId10"/>
    <p:sldMasterId id="2147483888" r:id="rId11"/>
  </p:sldMasterIdLst>
  <p:notesMasterIdLst>
    <p:notesMasterId r:id="rId35"/>
  </p:notesMasterIdLst>
  <p:handoutMasterIdLst>
    <p:handoutMasterId r:id="rId36"/>
  </p:handoutMasterIdLst>
  <p:sldIdLst>
    <p:sldId id="325" r:id="rId12"/>
    <p:sldId id="356" r:id="rId13"/>
    <p:sldId id="393" r:id="rId14"/>
    <p:sldId id="434" r:id="rId15"/>
    <p:sldId id="400" r:id="rId16"/>
    <p:sldId id="435" r:id="rId17"/>
    <p:sldId id="436" r:id="rId18"/>
    <p:sldId id="437" r:id="rId19"/>
    <p:sldId id="392" r:id="rId20"/>
    <p:sldId id="438" r:id="rId21"/>
    <p:sldId id="439" r:id="rId22"/>
    <p:sldId id="440" r:id="rId23"/>
    <p:sldId id="441" r:id="rId24"/>
    <p:sldId id="413" r:id="rId25"/>
    <p:sldId id="426" r:id="rId26"/>
    <p:sldId id="427" r:id="rId27"/>
    <p:sldId id="431" r:id="rId28"/>
    <p:sldId id="425" r:id="rId29"/>
    <p:sldId id="402" r:id="rId30"/>
    <p:sldId id="407" r:id="rId31"/>
    <p:sldId id="403" r:id="rId32"/>
    <p:sldId id="389" r:id="rId33"/>
    <p:sldId id="387" r:id="rId34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aghav,Gunjan" initials="R" lastIdx="5" clrIdx="0"/>
  <p:cmAuthor id="1" name="Herbert Geers" initials="HG" lastIdx="1" clrIdx="1">
    <p:extLst>
      <p:ext uri="{19B8F6BF-5375-455C-9EA6-DF929625EA0E}">
        <p15:presenceInfo xmlns:p15="http://schemas.microsoft.com/office/powerpoint/2012/main" userId="S::herbert.geers@nl.abnamro.com::cee86898-a773-457d-9f17-19b29a23ba2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3CC"/>
    <a:srgbClr val="99FF99"/>
    <a:srgbClr val="00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627"/>
    <p:restoredTop sz="94762"/>
  </p:normalViewPr>
  <p:slideViewPr>
    <p:cSldViewPr snapToGrid="0">
      <p:cViewPr varScale="1">
        <p:scale>
          <a:sx n="121" d="100"/>
          <a:sy n="121" d="100"/>
        </p:scale>
        <p:origin x="296" y="-12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viewProps" Target="viewProps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handoutMaster" Target="handoutMasters/handout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notesMaster" Target="notesMasters/notesMaster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D4BE32-7B88-4029-AFE8-2659E1F41AE2}" type="datetimeFigureOut">
              <a:rPr lang="en-US" smtClean="0"/>
              <a:t>9/22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16D33B-0E10-481E-B0A2-CC027A588D25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3522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8-11T10:48:25.267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14893 6558 24575,'36'-9'0,"-3"-1"0,-20 2 0,4-1 0,-8 4 0,4-3 0,-5 4 0,4-1 0,-3-2 0,8 2 0,2 1 0,0-4 0,9 7 0,-4-8 0,11 3 0,-4 1 0,11-5 0,-12 9 0,12-9 0,-11 9 0,10-4 0,-10 5 0,10-4 0,-4 2 0,5-2 0,1 4 0,0 0 0,6 0 0,-4 0 0,26 0 0,-22 0 0,23 0 0,-14 0 0,2 0 0,13 0 0,-6 0 0,0 0 0,6 5 0,-14-4 0,31 11 0,-18-10 0,-23 4 0,1 0-562,44-5 562,-42 5 0,0 0 0,5-2 0,0 0 0,0 3 0,-1 0 0,1 0 0,0 0 0,1 0 0,-3 0 0,34 6 0,-35-6 0,0 0 0,44 7 0,-7-1 0,-27-6 0,-1 0 0,19 6 0,-26-6 0,0 0 0,37 6 0,-42-6 0,0 0 0,44 6 0,-39-6 0,0 0 0,-4 0 0,0 0 0,5 0 0,-1 0 0,32 6 0,-17-6 0,-3 1 0,-3 3 0,-2-6 0,2-1 0,25 7 0,8-3 0,-46-2 0,-1 2 0,40 5 0,-6-6 0,8 4 0,-15-9 0,11 10 0,7-4 0,-14-1 0,-18-3 0,-1-1 0,20-3 0,-28 0 0,2 0 0,36 0 0,-42 0 0,0 0 0,45 0 0,-41 0 0,1 0 0,-4 0 0,0 0 0,5 0 0,0 0 0,0 0 0,-1 0 0,1 0 0,0 0 0,-1 0 0,2 0 0,3 0 0,1 0-492,6 0 0,0 0 278,1 0 0,1 0 214,8 0 0,0 0 0,-4 0 0,1 0-492,10 0 0,1 0 70,-5 0 1,0 0 421,10 0 0,0 0 0,-4 0 0,-1 0 0,7 0 0,-1 0 0,1 0 0,-1 0 0,-4 4 0,-2-1 0,-6-2 0,0 0 0,-1 2 0,-2 1 0,-8 0 0,0-1-492,4-2 0,-1-1 415,-4 4 0,0-1 77,0-2 0,-1-2 0,-3 1 0,-2 0-119,0 0 0,0 0 119,-6 0 0,1 0 0,5 0 0,-1 0 0,-3 0 0,0 0 0,9 0 0,0 0 0,-5 0 0,1 0 0,5 0 0,0 0-79,5 0 0,0 0 79,1 0 0,1 0 0,-1 0 0,1 0 0,3 0 0,0 0 0,-8 0 0,-2 0 0,6 0 0,-1 0 0,-10 0 0,-1 0 424,5 0 1,-1 0-425,-6 0 0,-4 0 0,36 0 0,-23 0 0,0 0 0,12 0 0,-11 1 0,3-2 0,22-5 0,-40 3 0,1-2 0,-4-4 0,1-2 0,8 0 0,1-1 0,-4-2 0,0 0 0,14-1 0,0-1-37,-8-2 1,0 0 36,10 1 0,-2 1 0,-21-1 0,-1 0 0,27-2 0,-5 0 351,-7-7-351,-1 5 0,1 0 0,5-11 0,-19 9 0,1-2 0,-7 1 0,-1 0 0,7 1 0,-1-3 0,31-31 0,-34 32 0,1-1 0,-3-7 0,0-1 0,5 4 0,0 1 349,0-5 0,-1-1-349,1 3 0,-1-1 0,-3-1 0,-1-1 0,0 1 0,-2 0 0,-4-3 0,-4 1 0,22-17 0,-15 6 0,-1-1 0,8-9 0,-9 5 0,0-3 0,13-28 0,-24 34 0,-1-2 0,-3 3 0,-1-1 0,4-3 0,-1-1 0,-5 1 0,-1 0 0,4 0 0,-2-1 0,-4-2 0,-2-1 0,-3 3 0,-1 1 0,-2 0 0,-2-1 0,-2-2 0,0-1 0,0 3 0,0 1 0,1-30 0,-5 18 0,0 2 0,-3-1 305,0 4 1,0 0-306,0-11 0,0-21 0,0 14 0,-11-6 0,-2 16 0,-12-6 0,-4 13 0,-11-23 0,2 12 0,-14-9 0,6 5 0,-6 3 0,-1-8 726,-6 0-726,-2 6 0,28 34 0,0 1 0,-34-29 0,0-4 0,1-1 0,-7 5 0,40 29 0,-2 0 0,-5 1 0,0 0 0,3 1 0,-1-1 0,-3-3 0,-2-1 0,-3-1 0,0 0 0,-3-2 0,1 0 0,2 2 0,-2 0-420,-8-3 0,-1 1 420,9 5 0,0 0 0,-14-7 0,-2-1 0,6 0 0,-1 2 0,-2 3 0,-2 0-485,-4-4 1,0 1 484,5 3 0,-1 0 0,-13-6 0,-1 0 0,8 0 0,-1 1 0,-7 3 0,0-1 0,5-1 0,1 1 0,4 6 0,1 1 0,1-4 0,1 2-386,4 7 0,2 1 386,3-4 0,0 2 0,-1 9 0,0 0 0,2-2 0,0 1 0,-2 5 0,-1 2 0,-4-3 0,-2 2 0,-9 1 0,-3 1-492,0-1 0,-2 2 411,-13 0 1,-2 2 80,-1-1 0,0 1 0,0-1 0,-1 0-492,-5-1 0,1 1 471,-1 4 1,1 0 20,5 1 0,-2 0 0,26 3 0,-1 0 0,0 1 0,-29-2 0,0 1 0,29 0 0,-1 0 0,0 1 0,1 4 0,0 2 0,-1-1 0,1-3 0,-1 0 0,0 2 0,-4 3 0,0 1 0,0-1 0,3-4 0,0-1 0,0 1-328,-7 4 1,-1 1-1,1-1 328,2-1 0,1-2 0,0 2 0,0 2 0,0 0 0,-1 0 0,2 0 0,0 0 0,0 0-321,4 0 0,0 0 0,1 0 321,3 0 0,0 0 0,0 0 0,-2 0 0,-1 0 0,2 0 0,-27 0 0,2 0 0,-5 0 0,0 0 0,10 0 0,3 0 305,3 0 0,3 0-305,19 0 0,1 0 0,-17 0 0,1 0 0,23 0 0,0 0 0,-20 0 0,-1 0 0,15 0 0,2 0 0,-1 0 0,0 0 0,0 0 0,1 0 0,-1 0 0,0 0 0,1 0 0,-2 0 0,-3 0 0,-1 0 0,0 0 0,-2 0 0,-3 0 0,-1 0 0,5 0 0,0 0 0,-4 0 0,0 0 0,9 0 0,1 0 0,-5 0 0,0 0 0,6 0 0,-1 0 0,0 0 0,1 0 0,-1 0 0,0 0 0,0 0 0,0 0 0,1 0 0,0 0 0,-1 0 0,0 0 0,1 0 0,-1 0 0,1 0 0,-1 0 491,0 0 1,0 0-304,-4 0 0,0 0-188,-2 0 0,0 0 0,1 0 0,0 0 0,-5 3 0,1 1 491,3-4 1,0 2-179,-5 4 1,0 1-314,-5-3 0,0 1 0,3 2 0,1 1 0,-4 0 0,0-1 0,5 1 0,1-1 0,-1 1 0,1-1 0,4 1 0,0-1 0,1-3 0,1 0 0,3 2 0,2 1 983,-26-1 0,-15 1-742,35 4-241,-21-10 0,8 4 0,8-5 983,2 6-905,13-5 595,-4 4-673,5-5 983,-7 0-739,-24 0-244,24 0 0,-30 5 0,28-3 0,-15 3 0,1 1 0,-1-5 0,1 10 0,-1-9 0,1 3 0,-1 0 0,-17-3 0,13 9 0,1-10 0,-1 11-419,-1-5 419,-16 7 0,45-8 0,0 1 0,-43 6 0,17-5 0,-12 4 0,20-5 0,-14 0 0,8 4 0,-8-4 0,14 0 0,-12 4 0,14-4 0,-8 0 0,8 4 0,-5-5 0,4 6 0,-6 1 0,-1-1 0,0 0 0,8-5 0,-6 4 0,14-4 0,-6 5 0,-1 0 0,13-1 542,-11 1-542,13-1 0,0 0 0,-5-5 0,11 4 0,-11-4 0,5 5 0,-1-5 0,-4 5 0,5-5 0,-7 6 0,0-1 0,7 0 0,-5 1 0,11-6 0,-4 4 0,12-5 0,-5 1 0,5 3 0,-5-3 0,-1 0 0,-7 4 0,6-4 0,-13 5 0,6 0 0,0-4 0,1 3 0,1-4 0,-3 5 0,2 0 0,-7 0 0,6 0 0,-6 1 0,-1-1 0,0 1 0,-8 0 0,-1 0 0,0 0 0,-5 0 0,13-1 0,-14 7 0,7-5 0,-1 5 0,-6-6 0,13-5 0,-12 4 0,12-10 0,-12 4 0,12 1 0,-6-5 0,9 4 0,-1-5 0,0 0 0,1 5 0,-1-4 0,0 5 0,1-1 0,-1-4 0,0 4 0,0 0 0,0-4 0,0 10 0,0-10 0,-7 9 0,6-3 0,-6 0 0,0 3 0,5-9 0,-4 10 0,-1-10 0,5 4 0,-12 1 0,12-5 0,-6 5 0,9-6 0,-1 0 0,0 0 0,0 0 0,0 0 0,1 0 0,-1 0 0,-15 0 0,18 0 0,-25 0 0,20 0 0,-7 0 0,-5 0 0,5 0 0,0 0 0,-6 0 0,14 0 0,-7 0 0,8 0 0,0 0 0,0 0 0,1 0 0,6 0 0,-5 0 0,5 0 0,0 0 0,-5 0 0,12 0 0,-13 0 0,14 0 0,-14 0 0,6 0 0,0 0 0,-5 0 0,11 0 0,-11 0 0,5 0 0,-23 0 0,19 0 0,-23 0 0,9 0 0,7 0 0,-26 0 0,9 0 0,5 0 0,-14 0 0,19 0 0,-7 0 0,0 0 0,4 0 0,12 0 0,-12 0 0,12 0 0,-5 0 0,7 0 0,1 0 0,0 0 0,0 0 0,-1-6 0,0 5 0,0-4 0,7 5 0,1-5 0,7 4 0,-6-4 0,5 5 0,-6 0 0,1-5 0,5 4 0,-6-4 0,8 0 0,-1 4 0,7-4 0,-5 1 0,10 2 0,-4-7 0,5 8 0,1-8 0,4 8 0,2-3 0,5 0 0,-5 3 0,4-3 0,-4 0 0,5 3 0,-5-3 0,4 4 0,-9 0 0,8-4 0,-8 3 0,-2-3 0,-7 4 0,0 0 0,-11 0 0,9 0 0,-17 0 0,-10 0 0,11 0 0,-9 0 0,14 0 0,6 0 0,-5 0 0,6 0 0,1 0 0,5 0 0,-5 0 0,16 0 0,-8 4 0,10-3 0,-1 4 0,-3-5 0,9 0 0,-9 0 0,3 0 0,-17 5 0,-10 1 0,-8 6 0,-30 1 0,19-1-271,21-3 1,0 2 270,-35 9 0,-8 6 0,0 1 0,23-8 0,17-2 0,-1-1 0,-21 6 0,-15 10 0,11-7 0,10-1 0,0 0 0,-4 1 0,15-2 0,7-5 0,1 3 0,7-5 541,6 5-541,-4 0 0,15-2 0,-3-4 0,15-2 0,2-5 0,4 0 0,-1 0 0,5 1 0,-8-1 0,1 9 0,-7 4 0,-17 30 0,-2-1 0,-8 13 0,-10 5-492,22-25 0,0 0 477,-2 0 0,0 0 15,2 0 0,1 0-336,-25 33 336,10-3 0,2 0 0,-1 10 0,15-16 0,-4 1 0,15 4 0,-7-12 0,13 5 0,-2-8 0,9-6 0,-3 6 983,9-13-970,-5 12 341,6-5-354,0 0 0,0 5 0,0-5 0,0 0 0,0-2 0,0-6 0,0 0 0,0-6 0,0 4 0,5-10 0,5 4 0,5-5 0,10 0 0,1 1 0,13 2 0,1 1 0,6 1 0,23 8 0,-12-11 0,12 5 0,-13-9 0,2 2 0,2 5 0,-14-9 0,0 1 0,12 6 0,26 19 0,-5-6 0,-21-12 0,-12-8 0,0 0 0,6 3 0,21 8 0,-13-2 0,5 1 0,-7-7 0,0-1 0,-1 1 0,-6-6 0,6 5 0,-13-6 0,12 1 0,-12-2 0,12-3 0,-4 3 0,5-3 0,17 13 0,-25-12 0,29 11 0,-24-18 0,21 12 0,-8-6 0,23 8 0,-33-7 0,32 5 0,-29-5 0,15 0-265,-25-6 1,1 0 264,31 7 0,-27-9 0,0 0 0,30 13 0,0-9 0,-10 3 0,-25-8 0,0 0 0,16 4 0,-3-3 0,1-1 0,19 3 0,-28-6 0,2 0 0,-6 0 0,0-1 0,0-1 0,2-2 0,8 0 0,2 0-492,-1-3 0,2 0 378,3 0 1,1 0 113,5 0 0,0 0-492,1 0 0,1 0 137,10 0 0,1 0 355,0 0 0,1 0-492,6 0 0,-1 0 46,1 0 0,-1 0 446,0 1 0,1-2 0,-1-2 0,0-1 0,1-1 0,-1 0 0,-4-3 0,-2 0 0,0-1 0,-2 1 0,-9 4 0,-1-1-368,-1-2 0,0 1 368,-5 1 0,0 1 0,-6 0 0,1 0 74,4 0 1,-1 1-75,-7 3 0,-2 0 0,1 0 0,-2 0 983,31 0-634,2 0-349,-20 0 0,22 0 0,-14 0 0,5 0 0,-14 0 983,-3 0 0,0 0 0,-5 0-555,5 0 555,-7 0-928,7 0-55,19 0 0,-5 0 0,-2 0 0,21 0 0,-45 0 0,0 2 0,1 2 0,8 3 0,21 6 0,-8-1 0,-1 0 0,1 1 0,-1-1 0,1 0 0,8 7 0,-14-5-161,-20-5 1,0 1 160,31 8 0,0-4 0,-27-4 0,0 0 0,23 8 0,13-3 0,-1 4 0,2 0 0,-15-5 0,-22-3 0,0-1 0,37 2 0,7 2 0,-45-8 0,0 1 0,39 13 0,3-6 0,2 11 0,-45-17 0,0 0 0,42 11 0,-22-7 0,-12-2 0,-1 1 0,-2 2 0,12 1 0,-1 1 0,-14-2 0,9-3 0,2 1 0,11 1 0,14 1 0,-1 0 0,-9-1 0,-5 1 0,22 0 0,-6 0 0,-1 0 0,-33-9 0,-2 0 0,16 6 0,-16-5 0,0-2 0,6 4 0,-8 0 0,2-1 0,17 1 0,14 6 0,-2 0 0,-9-1 0,1 1 0,-1-1 0,-7 0 0,6 0 0,-13 0 0,5 0 0,-14-1 0,5 0 471,-4 0-471,5 1 0,1-1 0,0 1 0,7 0 0,-5-1 0,5 1 0,0 0 0,-5 0 0,13 0 0,-14 5 0,7-4 0,-9 9 0,-3-10 0,3 4 0,-4 0 0,-1-3 0,4 8 0,-5-8 0,6 3 0,1-4 0,0-1 0,0 1 0,-1-1 0,-6 1 0,-1-1 0,-7-6 0,-7 0 0,-5-1 0,-8-3 0,-10 3 0,0-4 0,-5 0 0,0 0 0,0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8-11T10:49:39.680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9881 6683 24575,'-12'-22'0,"1"5"0,4 17 0,2-3 0,-9 2 0,12-7 0,-12 8 0,6-4 0,-1 1 0,-2-2 0,7-2 0,36-1 0,10 3 0,35 2 0,-17 3 0,19 0 0,-16 0 0,20 0 0,-9 0 0,1 0 0,-8 0 0,-2 5 0,-7 2 0,0 4 0,-1 1 0,1-1 0,0-5 0,7 5 0,2-10 0,-6 5 0,27-6 0,-23 0 0,-16 0 0,2 0 0,18 0 0,29 0 0,-34 0 0,26 0 0,-15 0 0,2 0 0,6 0-216,-32 0 1,0 0 215,30 0 0,-27 0 0,1 0 0,39 0 0,2 0 0,-41 0 0,1 0 0,-4 0 0,0 0 0,5 0 0,0 0-410,4 0 1,1 0 409,-4 0 0,0 0 0,8 0 0,1 0 0,-4 0 0,0 0-492,4 0 0,1 0 392,0 0 0,0 0 100,0 0 0,-1 0 0,2 0 0,-2 0 0,-4 0 0,0 0 0,5 0 0,-3 0 0,26 0 0,-16 0 0,-1 0 0,14 0-268,-29 0 0,0 0 268,30 0 0,-11 0 0,7 5 0,-2-3 0,-9 9 0,0-4 376,-7 5-376,6 0 762,-14-6-762,14 5 0,-6-9 0,8 9 0,0-10 0,-8 10 0,32-10 0,-39 9 0,-3-10 0,-1 1 0,-5 9 0,36-9 0,0 3 663,-5-4-663,-28 0 0,2 0 0,28 0 0,9 0 0,0 0 0,1 0 0,-44 0 0,2 0 0,-1 0 0,2 0 0,8 0 0,2 0-218,0 0 0,-1 0 218,1 0 0,0 0 0,4 0 0,-1 0 0,-2 0 0,-2 0 0,1 0 0,0 0 0,-1 1 0,-1-2 0,-4-1 0,0-2 0,0 1 0,-1-2 0,1-1 0,0-2 0,0 1 0,0 0 0,0 0 0,-1 0-262,33-6 262,9-1 0,-20-5 0,7 5 0,-3-5 0,-7 7 0,-1-1 0,1-5 0,0 4 0,-8-3 0,5 4 0,-12-4 0,13 4 540,-6-5-540,0 6 983,6-6-923,-13 5 224,12-5-284,-12 6 0,5 0 0,-7 6 0,-7-4 0,-2 4 0,-6-5 0,-6 1 0,4-1 0,-4 1 0,12-7 0,10-1 0,8-1 0,-7-3 0,3 9 0,-19-7 0,0 8 0,-9-3 0,-5 5 0,-10 1 0,-3 0 0,-4 0 0,-4 1 0,7-5 0,-6 0 0,8-10 0,-8-2 0,9-10 0,-2-2 0,4-6 0,2-14 0,-6 10 0,1-32 0,-7 24 0,2-26 0,0-4 0,-1 6 0,1-5-227,-9 33 1,-1 2 226,2-11 0,-5-38 0,0 29 0,0-8 0,0 22 0,0 0 0,0-12 0,1 9 0,-2 0 0,-11-15 0,4-7 0,-4 25 0,-2 3 0,1-1 0,0 0 0,-1 0 0,-5-10 0,-1-28 0,-4 14 0,10-14 0,-10 14 0,10 2 0,-9 2 0,9 13 0,-8-5 0,9 7 0,-9 0 0,4 0 0,0 0 453,-4 7-453,5-5 0,0 11 0,-4-4 0,9 12 0,-8-5 0,4 11 0,-4-4 0,-1 0 0,2 4 0,-2-5 0,-5-1 0,4 6 0,-10-7 0,5 0 0,-6 5 0,-6-12 0,-10-4 0,7 12 0,-11-15 0,12 10 0,-12-8 0,-12-13-551,-1 4 551,-7-7 0,1-1 0,31 32 0,-1 1 0,-3 0 0,-1-1 0,-3-1 0,-1 1-470,-3 3 0,0-1 470,3-2 0,-1 1 0,-6 4 0,2 2 0,-23-26 0,28 26 0,0 2 0,-23-14 0,-14-6 0,36 22 0,1 1 0,-37-18 0,36 20 0,0 1 0,4 0 0,0 1 0,-3 4 0,-2 1 0,1-3 0,-2 0 0,-9 2 0,0 1 0,4 0 0,0 0 0,-4-1 0,1 0 0,3 1 0,2 0 0,-33-7 0,24 7 0,2 0 0,1-4-174,3 3 1,1 1 173,-5-4 0,-20-6 0,8 4 0,1-5 0,-1 6 0,0-5 0,8 6 0,-14-2 0,19-2 0,-19 2 0,14 2 0,-8-6 0,0 10 0,8-3 0,2-1 515,7 6-515,0-5 948,0 5-948,7 1 375,-6 4-375,13-2 0,-13 2 0,13 1 0,-5-4 0,6 5 0,-6-1 0,4-4 0,-11 4 0,4-6 0,1 6 0,-5-4 0,5 3 0,-7-5 0,7 1 0,-5 0 0,5 0 0,-7-1 0,0 0 0,0 6 0,0-5 0,0 5 0,-7-6 0,-2 5 0,-1-3 0,-13 2 0,12 2 0,-14-6 0,9 11 0,-18-11 0,21 11 0,-19-11 0,23 10 0,16-4 0,0 0 0,-16 4 0,13-4 0,1 0 0,-9-1 0,7 0 0,0 0 0,-13-1 0,-30-4 0,10-3-823,-1 0 823,33 5 0,0-1 0,-37-2 0,0 6 0,43 1 0,-1 0 0,-45-2 0,45 2 0,0-2 0,-1 1 0,1 1 0,-22-2 0,11 1 0,-2 1 0,-14-2 0,18 1 0,-3-1 0,11 2 0,2-1 0,-45-7 0,43 7 0,1 1 0,-42-8 0,41 7 0,2 0 0,-23 0 0,11-3 0,0 0 0,-16 6 0,18-6 0,-1 1 0,-32 7 0,-1-10 0,2 11 0,41-5 0,-1 0 0,-43 4 0,44-1 0,0 0 0,0 2 0,0 2 0,-45-1 0,45-3 0,0 0 0,-43 1 0,43-1 0,0 0 0,-44 3 0,43 0 0,2 0-327,-21 0 327,11-3 0,3-1 0,1 3 0,-11-6 0,-2 0 0,-6 5 0,19-1 0,0-1 0,-38-2 0,1 5 0,0-5 0,43 3 0,-1 0-409,-1 2 1,0 0 408,-9-2 0,-1 0 0,4 0 0,0 0 0,-3 2 0,-1 0 0,1-2 0,-1 0 0,-1-1 0,1 1 0,-1 2 0,0 0 0,1-2 0,1 0 0,3-1 0,2 1 0,-32 2 0,18-6 0,1 0 0,-18 5 0,31-1 0,0-1 0,-32-2 0,25 4 0,-28-10 0,14 11 0,-6-5 0,9 0 775,6 5-775,3-10 326,0 10-326,5-4 866,-6 0-866,8 3 0,7-3 0,-5 5 0,12 0 0,-6-5 0,7 4 0,0-4 0,-6 5 0,4 0 0,-11 0 0,5 0 0,-32 0 0,12 0 0,-7 0 0,7 0 0,10 0 0,-14 0 0,-8 0 0,6 0 0,-6 0 0,-7 0 0,26 0 0,-31 0 0,33 0 0,-21 0 0,8 0 0,0 0 0,8 0 0,-6 0 0,6 0 0,0 0 0,-6 0 0,6 0 0,0 0 0,-6 0 0,13 0 0,-5 0 0,7 0 0,0 0 0,0 0 0,0 0 0,7 0 0,-5 0 0,5 0 0,-7 0 0,0 0 0,7 0 0,-5 0 0,17 0 0,-9 0 0,17 0 0,-4 0 0,10 0 0,7 0 0,1 0 0,7 0 0,-2 0 0,-1 0 0,-5 0 0,-1 0 0,-5 0 0,1 0 0,4 4 0,-4-3 0,5 3 0,-11 1 0,3-4 0,-15 9 0,-10-4 0,-2 6 0,-6-1 0,-5 1 0,12-1 0,-14 1 0,15-1 0,8-5 0,7-1 0,12-5 0,1 0 0,5 0 0,-5 4 0,4-3 0,-9 8 0,8-8 0,-20 8 0,6-3 0,-15 5 0,12-5 0,-4 4 0,15-5 0,-3 1 0,11-2 0,0-4 0,4 3 0,2-2 0,-6 3 0,3 0 0,-8-3 0,0 7 0,-14-2 0,-8 5 0,0 0 0,3-1 0,7 0 0,9 0 0,-3 0 0,11-5 0,0 2 0,4-6 0,2 3 0,-4 0 0,2 1 0,-13 4 0,8-4 0,-22 5 0,13-5 0,-14 6 0,13-1 0,-1 0 0,6-1 0,5 0 0,7-1 0,3-3 0,1-2 0,0 1 0,-7 0 0,-4 5 0,-3-1 0,-6 2 0,-2 0 0,-1 0 0,-11 0 0,11 0 0,-4 0 0,10 0 0,7-5 0,1-1 0,7 0 0,-2-4 0,4 4 0,0-4 0,-5 0 0,-1 4 0,-4 1 0,-5 4 0,-1 1 0,-34 13 0,9 1 0,-20 13 0,5-1 0,21-6 0,0 2 0,-25 10 0,23-7 0,1-1 0,-4 2 0,-6 5 0,13-1 0,8-6 0,6 9 0,11-12 0,1 4 0,10 0 0,0-4 0,5 10 0,-5 3 0,4 0 0,-4 6 0,5-1 0,0 2 0,0 7 0,0 0 0,0 7 0,0 2 0,0 25 0,0-27-255,0-7 1,0-1 254,0 11 0,0-14 0,0 2 0,0 29 0,0 8 0,2-42 0,2 0 0,3 44 0,3-39 0,1 0 0,-1-4 0,1 0 0,3 5 0,1 0 0,-2-5 0,1 0 0,3 4 0,0 0 0,1-4 0,0 0 0,2 0 0,1 0 0,-3-1 0,-1 0 0,2 0 0,1 0 0,1-2 0,0 0 0,0 3 0,1-1 0,2-2 0,-1-2 0,9 24 0,12 10 0,5 1 0,-1 0 0,5 0 0,-26-35 0,0-2 0,19 17 0,-11-14 0,-1 0 0,5 7-80,15 13 80,-17-14 0,13 8 0,-1 0 0,1 0 0,-16-20 0,0-2 0,7 12 0,-1-7 0,0-2 0,-8-6 0,3 5 0,3 1 0,14 12 0,1 11 0,-13-29 0,0-1 0,15 18 0,-10-16 0,0 1 0,23 28 0,-29-34 0,1 0-632,34 34 632,-31-32 0,2-2 0,-4-2 0,0 0 0,4 0 0,-2-2 0,22 16 0,19 8 0,-19-15 0,-13-7 0,2 1 0,26 9 0,-31-10 0,-1 0 0,27 8 0,5 12 0,-19-19 0,-16-6 0,0-1 0,13 1 0,-14-3 0,2-1 0,21 3 0,-22-2 0,2-1 0,24 0 0,19 16 0,-23-19 0,8 5 0,17 3-218,-27-8 218,23 0 0,-28-2 0,23-3 0,-6 4 0,-27-10 0,0-2 0,37 7 0,-37-6 0,2-1 0,-1 1 0,-1 0 0,46 0 0,-40-3 0,-1-1 0,25-3 0,18 0 0,-20 0-278,-18 0 1,2 0 277,-11 0 0,-1 0 0,4 0 0,-1 0-308,28 0 308,-29 0 0,0 0 0,40 0 0,-35 0 0,0 0 0,34 0 0,3 0 0,2 0-83,-41 0 0,1 0 83,39 0 0,-38-3 0,-2-1 0,25-2 0,-16 2 0,-2 0 0,0-6 0,9 5 0,3 2 0,3-4 0,-28 1 0,2 0 0,9 6 0,-3-1 0,21-10 0,-16 11 0,-1-1 0,16-10 0,4 9 0,14-9 0,-22 9 0,-18-1 0,-2-1-167,17-1 167,-15 4 0,0 0 0,12-4 0,-14 4 0,0 2 0,10-1 0,28 0 0,-15 0 0,7-6 0,-1 5 0,-5-5 0,5 6 0,-8 0 0,18 0 0,-27 0 0,23 0 0,-10 0 0,-6 0 0,18 0 0,-23 0 0,15 0 0,-5 0 0,6 0 0,-9 0 0,1 0 983,-8 0-962,6 0 376,-14 0-397,0 0 814,-9 0-814,-14 0 420,-1 0-420,-11 0 0,-5 0 0,-6 0 0,-5 0 0,0 0 0,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PlaceHolder 1"/>
          <p:cNvSpPr>
            <a:spLocks noGrp="1"/>
          </p:cNvSpPr>
          <p:nvPr>
            <p:ph type="body"/>
          </p:nvPr>
        </p:nvSpPr>
        <p:spPr>
          <a:xfrm>
            <a:off x="749350" y="5513192"/>
            <a:ext cx="5994443" cy="522281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20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Click to edit the notes format</a:t>
            </a:r>
          </a:p>
        </p:txBody>
      </p:sp>
      <p:sp>
        <p:nvSpPr>
          <p:cNvPr id="240" name="PlaceHolder 2"/>
          <p:cNvSpPr>
            <a:spLocks noGrp="1"/>
          </p:cNvSpPr>
          <p:nvPr>
            <p:ph type="hdr"/>
          </p:nvPr>
        </p:nvSpPr>
        <p:spPr>
          <a:xfrm>
            <a:off x="0" y="0"/>
            <a:ext cx="3251822" cy="57996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header&gt;</a:t>
            </a:r>
          </a:p>
        </p:txBody>
      </p:sp>
      <p:sp>
        <p:nvSpPr>
          <p:cNvPr id="241" name="PlaceHolder 3"/>
          <p:cNvSpPr>
            <a:spLocks noGrp="1"/>
          </p:cNvSpPr>
          <p:nvPr>
            <p:ph type="dt"/>
          </p:nvPr>
        </p:nvSpPr>
        <p:spPr>
          <a:xfrm>
            <a:off x="4241321" y="0"/>
            <a:ext cx="3251822" cy="579966"/>
          </a:xfrm>
          <a:prstGeom prst="rect">
            <a:avLst/>
          </a:prstGeom>
        </p:spPr>
        <p:txBody>
          <a:bodyPr lIns="0" tIns="0" rIns="0" bIns="0"/>
          <a:lstStyle/>
          <a:p>
            <a:pPr algn="r"/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date/time&gt;</a:t>
            </a:r>
          </a:p>
        </p:txBody>
      </p:sp>
      <p:sp>
        <p:nvSpPr>
          <p:cNvPr id="242" name="PlaceHolder 4"/>
          <p:cNvSpPr>
            <a:spLocks noGrp="1"/>
          </p:cNvSpPr>
          <p:nvPr>
            <p:ph type="ftr"/>
          </p:nvPr>
        </p:nvSpPr>
        <p:spPr>
          <a:xfrm>
            <a:off x="0" y="11026775"/>
            <a:ext cx="3251822" cy="579966"/>
          </a:xfrm>
          <a:prstGeom prst="rect">
            <a:avLst/>
          </a:prstGeom>
        </p:spPr>
        <p:txBody>
          <a:bodyPr lIns="0" tIns="0" rIns="0" bIns="0" anchor="b"/>
          <a:lstStyle/>
          <a:p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footer&gt;</a:t>
            </a:r>
          </a:p>
        </p:txBody>
      </p:sp>
      <p:sp>
        <p:nvSpPr>
          <p:cNvPr id="243" name="PlaceHolder 5"/>
          <p:cNvSpPr>
            <a:spLocks noGrp="1"/>
          </p:cNvSpPr>
          <p:nvPr>
            <p:ph type="sldNum"/>
          </p:nvPr>
        </p:nvSpPr>
        <p:spPr>
          <a:xfrm>
            <a:off x="4241321" y="11026775"/>
            <a:ext cx="3251822" cy="579966"/>
          </a:xfrm>
          <a:prstGeom prst="rect">
            <a:avLst/>
          </a:prstGeom>
        </p:spPr>
        <p:txBody>
          <a:bodyPr lIns="0" tIns="0" rIns="0" bIns="0" anchor="b"/>
          <a:lstStyle/>
          <a:p>
            <a:pPr algn="r"/>
            <a:fld id="{E9ED6839-D58C-42A6-9695-5721DEEE59C1}" type="slidenum"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‹nr.›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3939125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5113" cy="3722687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7466B6-60EA-4E33-84EF-0FD79CD76074}" type="slidenum">
              <a:rPr lang="nl-NL" smtClean="0">
                <a:solidFill>
                  <a:prstClr val="black"/>
                </a:solidFill>
                <a:latin typeface="Calibri"/>
              </a:rPr>
              <a:pPr/>
              <a:t>1</a:t>
            </a:fld>
            <a:endParaRPr lang="nl-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095718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2244433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2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0652079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9363276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pproach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rks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est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ave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ower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vert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y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R files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at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en't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ready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odules.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2671707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top‐down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gration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rategy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s most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eful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n't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ave control of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very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R file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ed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r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ication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2644549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8532519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coding</a:t>
            </a:r>
            <a:r>
              <a:rPr lang="nl-NL"/>
              <a:t>!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272175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5113" cy="3722687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7466B6-60EA-4E33-84EF-0FD79CD76074}" type="slidenum">
              <a:rPr lang="nl-NL" smtClean="0">
                <a:solidFill>
                  <a:prstClr val="black"/>
                </a:solidFill>
                <a:latin typeface="Calibri"/>
              </a:rPr>
              <a:pPr/>
              <a:t>23</a:t>
            </a:fld>
            <a:endParaRPr lang="nl-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899348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Covered</a:t>
            </a:r>
            <a:r>
              <a:rPr lang="nl-NL" dirty="0"/>
              <a:t> in </a:t>
            </a:r>
            <a:r>
              <a:rPr lang="nl-NL" dirty="0" err="1"/>
              <a:t>chapter</a:t>
            </a:r>
            <a:r>
              <a:rPr lang="nl-NL" dirty="0"/>
              <a:t> 11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5639098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Covered</a:t>
            </a:r>
            <a:r>
              <a:rPr lang="nl-NL" dirty="0"/>
              <a:t> in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chapter</a:t>
            </a:r>
            <a:r>
              <a:rPr lang="nl-NL" dirty="0"/>
              <a:t>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9257546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Named</a:t>
            </a:r>
            <a:r>
              <a:rPr lang="nl-NL" dirty="0"/>
              <a:t> module: a module </a:t>
            </a:r>
            <a:r>
              <a:rPr lang="nl-NL" dirty="0" err="1"/>
              <a:t>containing</a:t>
            </a:r>
            <a:r>
              <a:rPr lang="nl-NL" dirty="0"/>
              <a:t> a module-info file.</a:t>
            </a:r>
          </a:p>
          <a:p>
            <a:endParaRPr lang="nl-NL" dirty="0"/>
          </a:p>
          <a:p>
            <a:r>
              <a:rPr lang="nl-NL" dirty="0"/>
              <a:t>Automatic module: a </a:t>
            </a:r>
            <a:r>
              <a:rPr lang="nl-NL" dirty="0" err="1"/>
              <a:t>regular</a:t>
            </a:r>
            <a:r>
              <a:rPr lang="nl-NL" dirty="0"/>
              <a:t> </a:t>
            </a:r>
            <a:r>
              <a:rPr lang="nl-NL" dirty="0" err="1"/>
              <a:t>jar</a:t>
            </a:r>
            <a:r>
              <a:rPr lang="nl-NL" dirty="0"/>
              <a:t> without a module-info file but </a:t>
            </a:r>
            <a:r>
              <a:rPr lang="nl-NL" dirty="0" err="1"/>
              <a:t>placed</a:t>
            </a:r>
            <a:r>
              <a:rPr lang="nl-NL" dirty="0"/>
              <a:t> on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.</a:t>
            </a:r>
          </a:p>
          <a:p>
            <a:r>
              <a:rPr lang="nl-NL" dirty="0"/>
              <a:t>- </a:t>
            </a:r>
            <a:r>
              <a:rPr lang="nl-NL" dirty="0" err="1"/>
              <a:t>treated</a:t>
            </a:r>
            <a:r>
              <a:rPr lang="nl-NL" dirty="0"/>
              <a:t> as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there</a:t>
            </a:r>
            <a:r>
              <a:rPr lang="nl-NL" dirty="0"/>
              <a:t> </a:t>
            </a:r>
            <a:r>
              <a:rPr lang="nl-NL" dirty="0" err="1"/>
              <a:t>were</a:t>
            </a:r>
            <a:r>
              <a:rPr lang="nl-NL" dirty="0"/>
              <a:t> a module-info file</a:t>
            </a:r>
          </a:p>
          <a:p>
            <a:r>
              <a:rPr lang="nl-NL" dirty="0"/>
              <a:t>- </a:t>
            </a:r>
            <a:r>
              <a:rPr lang="nl-NL" dirty="0" err="1"/>
              <a:t>all</a:t>
            </a:r>
            <a:r>
              <a:rPr lang="nl-NL" dirty="0"/>
              <a:t> packages are </a:t>
            </a:r>
            <a:r>
              <a:rPr lang="nl-NL" dirty="0" err="1"/>
              <a:t>exported</a:t>
            </a:r>
            <a:endParaRPr lang="nl-NL" dirty="0"/>
          </a:p>
          <a:p>
            <a:r>
              <a:rPr lang="nl-NL" dirty="0"/>
              <a:t>- automatic module name </a:t>
            </a:r>
            <a:r>
              <a:rPr lang="nl-NL" dirty="0" err="1"/>
              <a:t>determination</a:t>
            </a:r>
            <a:endParaRPr lang="nl-NL" dirty="0"/>
          </a:p>
          <a:p>
            <a:r>
              <a:rPr lang="nl-NL" dirty="0"/>
              <a:t>  - </a:t>
            </a:r>
            <a:r>
              <a:rPr lang="nl-NL" dirty="0" err="1"/>
              <a:t>remov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file extension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JAR name.</a:t>
            </a:r>
          </a:p>
          <a:p>
            <a:r>
              <a:rPr lang="nl-NL" dirty="0"/>
              <a:t>  - </a:t>
            </a:r>
            <a:r>
              <a:rPr lang="nl-NL" dirty="0" err="1"/>
              <a:t>remove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</a:t>
            </a:r>
            <a:r>
              <a:rPr lang="nl-NL" dirty="0" err="1"/>
              <a:t>version</a:t>
            </a:r>
            <a:r>
              <a:rPr lang="nl-NL" dirty="0"/>
              <a:t> information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end of </a:t>
            </a:r>
            <a:r>
              <a:rPr lang="nl-NL" dirty="0" err="1"/>
              <a:t>the</a:t>
            </a:r>
            <a:r>
              <a:rPr lang="nl-NL" dirty="0"/>
              <a:t> name. A </a:t>
            </a:r>
            <a:r>
              <a:rPr lang="nl-NL" dirty="0" err="1"/>
              <a:t>version</a:t>
            </a:r>
            <a:r>
              <a:rPr lang="nl-NL" dirty="0"/>
              <a:t> is </a:t>
            </a:r>
            <a:r>
              <a:rPr lang="nl-NL" dirty="0" err="1"/>
              <a:t>digits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dots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possible</a:t>
            </a:r>
            <a:r>
              <a:rPr lang="nl-NL" dirty="0"/>
              <a:t> extra information at </a:t>
            </a:r>
            <a:r>
              <a:rPr lang="nl-NL" dirty="0" err="1"/>
              <a:t>the</a:t>
            </a:r>
            <a:r>
              <a:rPr lang="nl-NL" dirty="0"/>
              <a:t> end,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example</a:t>
            </a:r>
            <a:r>
              <a:rPr lang="nl-NL" dirty="0"/>
              <a:t>, ‐1.0.0 or ‐1.0‐RC.</a:t>
            </a:r>
          </a:p>
          <a:p>
            <a:r>
              <a:rPr lang="nl-NL" dirty="0"/>
              <a:t>  - </a:t>
            </a:r>
            <a:r>
              <a:rPr lang="nl-NL" dirty="0" err="1"/>
              <a:t>replace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</a:t>
            </a:r>
            <a:r>
              <a:rPr lang="nl-NL" dirty="0" err="1"/>
              <a:t>remaining</a:t>
            </a:r>
            <a:r>
              <a:rPr lang="nl-NL" dirty="0"/>
              <a:t> </a:t>
            </a:r>
            <a:r>
              <a:rPr lang="nl-NL" dirty="0" err="1"/>
              <a:t>characters</a:t>
            </a:r>
            <a:r>
              <a:rPr lang="nl-NL" dirty="0"/>
              <a:t> </a:t>
            </a:r>
            <a:r>
              <a:rPr lang="nl-NL" dirty="0" err="1"/>
              <a:t>other</a:t>
            </a:r>
            <a:r>
              <a:rPr lang="nl-NL" dirty="0"/>
              <a:t> </a:t>
            </a:r>
            <a:r>
              <a:rPr lang="nl-NL" dirty="0" err="1"/>
              <a:t>than</a:t>
            </a:r>
            <a:r>
              <a:rPr lang="nl-NL" dirty="0"/>
              <a:t> letters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numbers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dots</a:t>
            </a:r>
            <a:r>
              <a:rPr lang="nl-NL" dirty="0"/>
              <a:t>.</a:t>
            </a:r>
          </a:p>
          <a:p>
            <a:r>
              <a:rPr lang="nl-NL" dirty="0"/>
              <a:t>  - </a:t>
            </a:r>
            <a:r>
              <a:rPr lang="nl-NL" dirty="0" err="1"/>
              <a:t>replace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</a:t>
            </a:r>
            <a:r>
              <a:rPr lang="nl-NL" dirty="0" err="1"/>
              <a:t>sequences</a:t>
            </a:r>
            <a:r>
              <a:rPr lang="nl-NL" dirty="0"/>
              <a:t> of </a:t>
            </a:r>
            <a:r>
              <a:rPr lang="nl-NL" dirty="0" err="1"/>
              <a:t>dots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a single dot.</a:t>
            </a:r>
          </a:p>
          <a:p>
            <a:r>
              <a:rPr lang="nl-NL" dirty="0"/>
              <a:t>  - </a:t>
            </a:r>
            <a:r>
              <a:rPr lang="nl-NL" dirty="0" err="1"/>
              <a:t>remov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dot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is </a:t>
            </a:r>
            <a:r>
              <a:rPr lang="nl-NL" dirty="0" err="1"/>
              <a:t>the</a:t>
            </a:r>
            <a:r>
              <a:rPr lang="nl-NL" dirty="0"/>
              <a:t> first or last </a:t>
            </a:r>
            <a:r>
              <a:rPr lang="nl-NL" dirty="0" err="1"/>
              <a:t>character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result</a:t>
            </a:r>
            <a:r>
              <a:rPr lang="nl-NL" dirty="0"/>
              <a:t>.</a:t>
            </a:r>
          </a:p>
          <a:p>
            <a:endParaRPr lang="nl-NL" dirty="0"/>
          </a:p>
          <a:p>
            <a:r>
              <a:rPr lang="nl-NL" dirty="0" err="1"/>
              <a:t>Unnamed</a:t>
            </a:r>
            <a:r>
              <a:rPr lang="nl-NL" dirty="0"/>
              <a:t> </a:t>
            </a:r>
            <a:r>
              <a:rPr lang="nl-NL" dirty="0" err="1"/>
              <a:t>modele</a:t>
            </a:r>
            <a:r>
              <a:rPr lang="nl-NL" dirty="0"/>
              <a:t> : a </a:t>
            </a:r>
            <a:r>
              <a:rPr lang="nl-NL" dirty="0" err="1"/>
              <a:t>regular</a:t>
            </a:r>
            <a:r>
              <a:rPr lang="nl-NL" dirty="0"/>
              <a:t> </a:t>
            </a:r>
            <a:r>
              <a:rPr lang="nl-NL" dirty="0" err="1"/>
              <a:t>jar</a:t>
            </a:r>
            <a:r>
              <a:rPr lang="nl-NL" dirty="0"/>
              <a:t> without a module-info file but </a:t>
            </a:r>
            <a:r>
              <a:rPr lang="nl-NL" dirty="0" err="1"/>
              <a:t>placed</a:t>
            </a:r>
            <a:r>
              <a:rPr lang="nl-NL" dirty="0"/>
              <a:t> on </a:t>
            </a:r>
            <a:r>
              <a:rPr lang="nl-NL" dirty="0" err="1"/>
              <a:t>the</a:t>
            </a:r>
            <a:r>
              <a:rPr lang="nl-NL" dirty="0"/>
              <a:t> class </a:t>
            </a:r>
            <a:r>
              <a:rPr lang="nl-NL" dirty="0" err="1"/>
              <a:t>path</a:t>
            </a:r>
            <a:r>
              <a:rPr lang="nl-NL" dirty="0"/>
              <a:t>.</a:t>
            </a:r>
          </a:p>
          <a:p>
            <a:r>
              <a:rPr lang="nl-NL" dirty="0"/>
              <a:t>-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doesn't</a:t>
            </a:r>
            <a:r>
              <a:rPr lang="nl-NL" dirty="0"/>
              <a:t> export </a:t>
            </a:r>
            <a:r>
              <a:rPr lang="nl-NL" dirty="0" err="1"/>
              <a:t>any</a:t>
            </a:r>
            <a:r>
              <a:rPr lang="nl-NL" dirty="0"/>
              <a:t> </a:t>
            </a:r>
            <a:r>
              <a:rPr lang="nl-NL" dirty="0" err="1"/>
              <a:t>packag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named</a:t>
            </a:r>
            <a:r>
              <a:rPr lang="nl-NL" dirty="0"/>
              <a:t>/automatic modules</a:t>
            </a:r>
          </a:p>
          <a:p>
            <a:r>
              <a:rPr lang="nl-NL" dirty="0"/>
              <a:t>-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read</a:t>
            </a:r>
            <a:r>
              <a:rPr lang="nl-NL" dirty="0"/>
              <a:t>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JAR on </a:t>
            </a:r>
            <a:r>
              <a:rPr lang="nl-NL" dirty="0" err="1"/>
              <a:t>the</a:t>
            </a:r>
            <a:r>
              <a:rPr lang="nl-NL" dirty="0"/>
              <a:t> class AND module </a:t>
            </a:r>
            <a:r>
              <a:rPr lang="nl-NL" dirty="0" err="1"/>
              <a:t>path</a:t>
            </a:r>
            <a:r>
              <a:rPr lang="nl-NL" dirty="0"/>
              <a:t> :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reason</a:t>
            </a:r>
            <a:r>
              <a:rPr lang="nl-NL" dirty="0"/>
              <a:t> </a:t>
            </a:r>
            <a:r>
              <a:rPr lang="nl-NL" dirty="0" err="1"/>
              <a:t>why</a:t>
            </a:r>
            <a:r>
              <a:rPr lang="nl-NL" dirty="0"/>
              <a:t> </a:t>
            </a:r>
            <a:r>
              <a:rPr lang="nl-NL" dirty="0" err="1"/>
              <a:t>all</a:t>
            </a:r>
            <a:r>
              <a:rPr lang="nl-NL" dirty="0"/>
              <a:t> non-</a:t>
            </a:r>
            <a:r>
              <a:rPr lang="nl-NL" dirty="0" err="1"/>
              <a:t>modular</a:t>
            </a:r>
            <a:r>
              <a:rPr lang="nl-NL" dirty="0"/>
              <a:t> code runs on java9+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9019080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 err="1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2343055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0541134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It </a:t>
            </a:r>
            <a:r>
              <a:rPr lang="nl-NL" dirty="0" err="1"/>
              <a:t>can</a:t>
            </a:r>
            <a:r>
              <a:rPr lang="nl-NL" dirty="0"/>
              <a:t> access </a:t>
            </a:r>
            <a:r>
              <a:rPr lang="nl-NL" dirty="0" err="1"/>
              <a:t>all</a:t>
            </a:r>
            <a:r>
              <a:rPr lang="nl-NL" dirty="0"/>
              <a:t> classes in </a:t>
            </a:r>
            <a:r>
              <a:rPr lang="nl-NL" dirty="0" err="1"/>
              <a:t>all</a:t>
            </a:r>
            <a:r>
              <a:rPr lang="nl-NL" dirty="0"/>
              <a:t> </a:t>
            </a:r>
            <a:r>
              <a:rPr lang="nl-NL" dirty="0" err="1"/>
              <a:t>jars</a:t>
            </a:r>
            <a:r>
              <a:rPr lang="nl-NL" dirty="0"/>
              <a:t> in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. Non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names</a:t>
            </a:r>
            <a:r>
              <a:rPr lang="nl-NL" dirty="0"/>
              <a:t> modules </a:t>
            </a:r>
            <a:r>
              <a:rPr lang="nl-NL" dirty="0" err="1"/>
              <a:t>can</a:t>
            </a:r>
            <a:r>
              <a:rPr lang="nl-NL" dirty="0"/>
              <a:t> access </a:t>
            </a:r>
            <a:r>
              <a:rPr lang="nl-NL" dirty="0" err="1"/>
              <a:t>any</a:t>
            </a:r>
            <a:r>
              <a:rPr lang="nl-NL" dirty="0"/>
              <a:t> class form </a:t>
            </a:r>
            <a:r>
              <a:rPr lang="nl-NL" dirty="0" err="1"/>
              <a:t>an</a:t>
            </a:r>
            <a:r>
              <a:rPr lang="nl-NL" dirty="0"/>
              <a:t> </a:t>
            </a:r>
            <a:r>
              <a:rPr lang="nl-NL" dirty="0" err="1"/>
              <a:t>unnamed</a:t>
            </a:r>
            <a:r>
              <a:rPr lang="nl-NL" dirty="0"/>
              <a:t> module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0149795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implies</a:t>
            </a:r>
            <a:r>
              <a:rPr lang="nl-NL" dirty="0"/>
              <a:t> we had a proper </a:t>
            </a:r>
            <a:r>
              <a:rPr lang="nl-NL" dirty="0" err="1"/>
              <a:t>java</a:t>
            </a:r>
            <a:r>
              <a:rPr lang="nl-NL" dirty="0"/>
              <a:t> module </a:t>
            </a:r>
            <a:r>
              <a:rPr lang="nl-NL" dirty="0" err="1"/>
              <a:t>packaged</a:t>
            </a:r>
            <a:r>
              <a:rPr lang="nl-NL" dirty="0"/>
              <a:t> in a </a:t>
            </a:r>
            <a:r>
              <a:rPr lang="nl-NL" dirty="0" err="1"/>
              <a:t>jar</a:t>
            </a:r>
            <a:r>
              <a:rPr lang="nl-NL" dirty="0"/>
              <a:t> but </a:t>
            </a:r>
            <a:r>
              <a:rPr lang="nl-NL" dirty="0" err="1"/>
              <a:t>deployed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on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lasspath</a:t>
            </a:r>
            <a:r>
              <a:rPr lang="nl-NL" dirty="0"/>
              <a:t>. It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access </a:t>
            </a:r>
            <a:r>
              <a:rPr lang="nl-NL" dirty="0" err="1"/>
              <a:t>by</a:t>
            </a:r>
            <a:r>
              <a:rPr lang="nl-NL" dirty="0"/>
              <a:t> </a:t>
            </a:r>
            <a:r>
              <a:rPr lang="nl-NL" dirty="0" err="1"/>
              <a:t>other</a:t>
            </a:r>
            <a:r>
              <a:rPr lang="nl-NL" dirty="0"/>
              <a:t> classes on </a:t>
            </a:r>
            <a:r>
              <a:rPr lang="nl-NL" dirty="0" err="1"/>
              <a:t>the</a:t>
            </a:r>
            <a:r>
              <a:rPr lang="nl-NL" dirty="0"/>
              <a:t> class </a:t>
            </a:r>
            <a:r>
              <a:rPr lang="nl-NL" dirty="0" err="1"/>
              <a:t>patha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will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hidden</a:t>
            </a:r>
            <a:r>
              <a:rPr lang="nl-NL" dirty="0"/>
              <a:t>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named</a:t>
            </a:r>
            <a:r>
              <a:rPr lang="nl-NL" dirty="0"/>
              <a:t> modules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5524329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200" dirty="0"/>
              <a:t>A </a:t>
            </a:r>
            <a:r>
              <a:rPr lang="nl-NL" sz="1200" dirty="0" err="1"/>
              <a:t>version</a:t>
            </a:r>
            <a:r>
              <a:rPr lang="nl-NL" sz="1200" dirty="0"/>
              <a:t> is </a:t>
            </a:r>
            <a:r>
              <a:rPr lang="nl-NL" sz="1200" dirty="0" err="1"/>
              <a:t>digits</a:t>
            </a:r>
            <a:r>
              <a:rPr lang="nl-NL" sz="1200" dirty="0"/>
              <a:t> </a:t>
            </a:r>
            <a:r>
              <a:rPr lang="nl-NL" sz="1200" dirty="0" err="1"/>
              <a:t>and</a:t>
            </a:r>
            <a:r>
              <a:rPr lang="nl-NL" sz="1200" dirty="0"/>
              <a:t> </a:t>
            </a:r>
            <a:r>
              <a:rPr lang="nl-NL" sz="1200" dirty="0" err="1"/>
              <a:t>dots</a:t>
            </a:r>
            <a:r>
              <a:rPr lang="nl-NL" sz="1200" dirty="0"/>
              <a:t> </a:t>
            </a:r>
            <a:r>
              <a:rPr lang="nl-NL" sz="1200" dirty="0" err="1"/>
              <a:t>with</a:t>
            </a:r>
            <a:r>
              <a:rPr lang="nl-NL" sz="1200" dirty="0"/>
              <a:t> </a:t>
            </a:r>
            <a:r>
              <a:rPr lang="nl-NL" sz="1200" dirty="0" err="1"/>
              <a:t>possible</a:t>
            </a:r>
            <a:r>
              <a:rPr lang="nl-NL" sz="1200" dirty="0"/>
              <a:t> extra information at </a:t>
            </a:r>
            <a:r>
              <a:rPr lang="nl-NL" sz="1200" dirty="0" err="1"/>
              <a:t>the</a:t>
            </a:r>
            <a:r>
              <a:rPr lang="nl-NL" sz="1200" dirty="0"/>
              <a:t> end, </a:t>
            </a:r>
            <a:r>
              <a:rPr lang="nl-NL" sz="1200" dirty="0" err="1"/>
              <a:t>for</a:t>
            </a:r>
            <a:r>
              <a:rPr lang="nl-NL" sz="1200" dirty="0"/>
              <a:t> </a:t>
            </a:r>
            <a:r>
              <a:rPr lang="nl-NL" sz="1200" dirty="0" err="1"/>
              <a:t>example</a:t>
            </a:r>
            <a:r>
              <a:rPr lang="nl-NL" sz="1200" dirty="0"/>
              <a:t>, ‐1.0.0 or ‐1.0‐RC.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9247506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w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wmf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5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42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5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70055" y="517555"/>
            <a:ext cx="11400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5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anchor="b"/>
          <a:lstStyle>
            <a:lvl1pPr algn="r">
              <a:lnSpc>
                <a:spcPts val="4000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257" y="3311826"/>
            <a:ext cx="15199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7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861697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2" y="122090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50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759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2" y="122090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50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9533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2" y="1155704"/>
            <a:ext cx="5410947" cy="4707219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8" y="1150849"/>
            <a:ext cx="5325159" cy="471655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1823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3" y="2428876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14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4" y="2781313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8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2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4" y="4095765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2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90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4" y="5400989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5" y="1155716"/>
            <a:ext cx="11281134" cy="106256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832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582139" y="116452"/>
            <a:ext cx="10687050" cy="554567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2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GB">
                <a:latin typeface="Univers 45 Light" pitchFamily="2" charset="0"/>
              </a:rPr>
              <a:t>Click to add title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7176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53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4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4" y="5051750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986622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53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4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4" y="5051750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7410087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61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4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9BD6A8D-D4B2-4ABA-A23E-497588D8D207}" type="datetimeFigureOut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/22/21</a:t>
            </a:fld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64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4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4408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40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9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69930" y="517598"/>
            <a:ext cx="1139829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63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r">
              <a:lnSpc>
                <a:spcPts val="2999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lIns="91328" tIns="45664" rIns="91328" bIns="45664" anchor="b"/>
          <a:lstStyle>
            <a:lvl1pPr algn="r">
              <a:lnSpc>
                <a:spcPts val="3999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371" y="3311886"/>
            <a:ext cx="1519741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9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9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32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197428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8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8" y="530539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951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8871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8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39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603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6" y="1155714"/>
            <a:ext cx="5410947" cy="4707219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0" y="1150859"/>
            <a:ext cx="5325159" cy="471655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334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5" y="242887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02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16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38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68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3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78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6" y="5400992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23" y="1155719"/>
            <a:ext cx="11281134" cy="106256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64325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33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0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71" y="5051739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566972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33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0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71" y="5051739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586069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9"/>
            <a:ext cx="10363200" cy="1470025"/>
          </a:xfrm>
          <a:prstGeom prst="rect">
            <a:avLst/>
          </a:prstGeom>
        </p:spPr>
        <p:txBody>
          <a:bodyPr lIns="91328" tIns="45664" rIns="91328" bIns="4566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4"/>
            <a:ext cx="8534400" cy="17526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2" y="6356367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5" y="6356367"/>
            <a:ext cx="3860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7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mtClean="0">
                <a:solidFill>
                  <a:srgbClr val="009286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0989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tement with Supporting Text_N900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Shape 162"/>
          <p:cNvSpPr>
            <a:spLocks noGrp="1"/>
          </p:cNvSpPr>
          <p:nvPr>
            <p:ph type="body" sz="quarter" idx="16" hasCustomPrompt="1"/>
          </p:nvPr>
        </p:nvSpPr>
        <p:spPr>
          <a:xfrm>
            <a:off x="6383522" y="2449229"/>
            <a:ext cx="1270801" cy="1"/>
          </a:xfrm>
          <a:prstGeom prst="line">
            <a:avLst/>
          </a:prstGeom>
          <a:ln w="101600">
            <a:solidFill>
              <a:schemeClr val="accent2"/>
            </a:solidFill>
          </a:ln>
        </p:spPr>
        <p:txBody>
          <a:bodyPr lIns="45720" tIns="22860" rIns="45720" bIns="22860">
            <a:noAutofit/>
          </a:bodyPr>
          <a:lstStyle>
            <a:lvl1pPr marL="0" indent="0" defTabSz="412750">
              <a:spcBef>
                <a:spcPts val="0"/>
              </a:spcBef>
              <a:buSzTx/>
              <a:buNone/>
              <a:defRPr sz="3200" b="0" spc="0">
                <a:solidFill>
                  <a:srgbClr val="000000"/>
                </a:solidFill>
                <a:latin typeface="Helvetica Light"/>
                <a:sym typeface="Helvetica Light"/>
              </a:defRPr>
            </a:lvl1pPr>
          </a:lstStyle>
          <a:p>
            <a:pPr marL="0" indent="0" defTabSz="825500">
              <a:spcBef>
                <a:spcPts val="0"/>
              </a:spcBef>
              <a:buSzTx/>
              <a:buNone/>
              <a:defRPr sz="3200" b="0" spc="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r>
              <a:rPr lang="en-US"/>
              <a:t> </a:t>
            </a:r>
            <a:endParaRPr/>
          </a:p>
        </p:txBody>
      </p:sp>
      <p:sp>
        <p:nvSpPr>
          <p:cNvPr id="163" name="Shape 163"/>
          <p:cNvSpPr>
            <a:spLocks noGrp="1"/>
          </p:cNvSpPr>
          <p:nvPr>
            <p:ph type="body" sz="quarter" idx="17"/>
          </p:nvPr>
        </p:nvSpPr>
        <p:spPr>
          <a:xfrm>
            <a:off x="889000" y="806450"/>
            <a:ext cx="4573093" cy="2816156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6000" b="0" i="0" spc="-60">
                <a:latin typeface="Circular Pro Bold"/>
                <a:ea typeface="Circular Pro" charset="0"/>
                <a:cs typeface="Circular Pro Bold"/>
              </a:defRPr>
            </a:lvl1pPr>
          </a:lstStyle>
          <a:p>
            <a:r>
              <a:t>Big statement with support</a:t>
            </a:r>
          </a:p>
        </p:txBody>
      </p:sp>
      <p:sp>
        <p:nvSpPr>
          <p:cNvPr id="15" name="Shape 159"/>
          <p:cNvSpPr>
            <a:spLocks noGrp="1"/>
          </p:cNvSpPr>
          <p:nvPr>
            <p:ph type="body" sz="quarter" idx="13"/>
          </p:nvPr>
        </p:nvSpPr>
        <p:spPr>
          <a:xfrm>
            <a:off x="6383522" y="2857826"/>
            <a:ext cx="4924321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>
                    <a:alpha val="30000"/>
                  </a:schemeClr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Please remember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Using a lot of text on slides is like reading your notes to your audience. Not presenting.</a:t>
            </a:r>
          </a:p>
        </p:txBody>
      </p:sp>
      <p:sp>
        <p:nvSpPr>
          <p:cNvPr id="16" name="Shape 160"/>
          <p:cNvSpPr>
            <a:spLocks noGrp="1"/>
          </p:cNvSpPr>
          <p:nvPr>
            <p:ph type="body" sz="quarter" idx="14"/>
          </p:nvPr>
        </p:nvSpPr>
        <p:spPr>
          <a:xfrm>
            <a:off x="6383523" y="4728171"/>
            <a:ext cx="4924322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>
                    <a:alpha val="30000"/>
                  </a:schemeClr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Less is more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If you don’t need any of the points, don’t use them. We don’t believe in filler, baby!</a:t>
            </a:r>
          </a:p>
        </p:txBody>
      </p:sp>
      <p:sp>
        <p:nvSpPr>
          <p:cNvPr id="18" name="Shape 161"/>
          <p:cNvSpPr>
            <a:spLocks noGrp="1"/>
          </p:cNvSpPr>
          <p:nvPr>
            <p:ph type="body" sz="quarter" idx="15"/>
          </p:nvPr>
        </p:nvSpPr>
        <p:spPr>
          <a:xfrm>
            <a:off x="6383523" y="923033"/>
            <a:ext cx="4924322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/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Spacing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Hold down *Shift* to drag when moving the bar to make sure it stays properly aligned.</a:t>
            </a:r>
          </a:p>
        </p:txBody>
      </p:sp>
    </p:spTree>
    <p:extLst>
      <p:ext uri="{BB962C8B-B14F-4D97-AF65-F5344CB8AC3E}">
        <p14:creationId xmlns:p14="http://schemas.microsoft.com/office/powerpoint/2010/main" val="2417250905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5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5" y="3529021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31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119551" y="488928"/>
            <a:ext cx="1239063" cy="703528"/>
          </a:xfrm>
          <a:prstGeom prst="rect">
            <a:avLst/>
          </a:prstGeom>
          <a:noFill/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1" y="487938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1" y="4480404"/>
            <a:ext cx="8257117" cy="381000"/>
          </a:xfrm>
          <a:prstGeom prst="rect">
            <a:avLst/>
          </a:prstGeom>
        </p:spPr>
        <p:txBody>
          <a:bodyPr lIns="102365" tIns="51182" rIns="102365" bIns="51182"/>
          <a:lstStyle>
            <a:lvl1pPr marL="0" indent="0" algn="r">
              <a:lnSpc>
                <a:spcPts val="3360"/>
              </a:lnSpc>
              <a:spcBef>
                <a:spcPct val="0"/>
              </a:spcBef>
              <a:spcAft>
                <a:spcPct val="0"/>
              </a:spcAft>
              <a:defRPr sz="3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1" y="3910338"/>
            <a:ext cx="8257117" cy="508000"/>
          </a:xfrm>
          <a:prstGeom prst="rect">
            <a:avLst/>
          </a:prstGeom>
        </p:spPr>
        <p:txBody>
          <a:bodyPr lIns="102365" tIns="51182" rIns="102365" bIns="51182" anchor="b"/>
          <a:lstStyle>
            <a:lvl1pPr algn="r">
              <a:lnSpc>
                <a:spcPts val="4477"/>
              </a:lnSpc>
              <a:defRPr sz="45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664128" y="3283213"/>
            <a:ext cx="1646226" cy="703528"/>
          </a:xfrm>
          <a:prstGeom prst="rect">
            <a:avLst/>
          </a:prstGeom>
          <a:noFill/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8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8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1230" fontAlgn="base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1230" fontAlgn="base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699266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03" y="1220882"/>
            <a:ext cx="10997655" cy="488108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3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2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52340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03" y="1220882"/>
            <a:ext cx="10997655" cy="488108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3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3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21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318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39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0458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21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6" y="1155703"/>
            <a:ext cx="5410947" cy="4707219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30" y="1150845"/>
            <a:ext cx="5325159" cy="4716554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5413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21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5" y="2428879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0" y="2428884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03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1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30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3" y="3743333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55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4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3" y="5048560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6" y="5400979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07" y="1155701"/>
            <a:ext cx="11281134" cy="1062566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latin typeface="Univers 45 Light" pitchFamily="2" charset="0"/>
              </a:defRPr>
            </a:lvl4pPr>
            <a:lvl5pPr>
              <a:defRPr sz="13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2712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2365" tIns="51182" rIns="102365" bIns="51182" numCol="1" rtlCol="0" anchor="t" anchorCtr="0" compatLnSpc="1">
            <a:prstTxWarp prst="textNoShape">
              <a:avLst/>
            </a:prstTxWarp>
          </a:bodyPr>
          <a:lstStyle/>
          <a:p>
            <a:pPr defTabSz="1167603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1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67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19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49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45" y="5051721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1524444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94C23C">
              <a:alpha val="50196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2365" tIns="51182" rIns="102365" bIns="51182" numCol="1" rtlCol="0" anchor="t" anchorCtr="0" compatLnSpc="1">
            <a:prstTxWarp prst="textNoShape">
              <a:avLst/>
            </a:prstTxWarp>
          </a:bodyPr>
          <a:lstStyle/>
          <a:p>
            <a:pPr defTabSz="1167603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1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67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19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49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45" y="5051721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1408816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3"/>
            <a:ext cx="10363200" cy="1470025"/>
          </a:xfrm>
          <a:prstGeom prst="rect">
            <a:avLst/>
          </a:prstGeom>
        </p:spPr>
        <p:txBody>
          <a:bodyPr lIns="102365" tIns="51182" rIns="102365" bIns="51182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3"/>
            <a:ext cx="8534400" cy="1752600"/>
          </a:xfrm>
          <a:prstGeom prst="rect">
            <a:avLst/>
          </a:prstGeom>
        </p:spPr>
        <p:txBody>
          <a:bodyPr lIns="102365" tIns="51182" rIns="102365" bIns="51182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11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7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9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2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4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2" y="6356352"/>
            <a:ext cx="2844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5" y="6356352"/>
            <a:ext cx="3860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z="1600" smtClean="0">
                <a:solidFill>
                  <a:srgbClr val="009286"/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 sz="160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68243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5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7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8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9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10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2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3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pic>
        <p:nvPicPr>
          <p:cNvPr id="1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-7198"/>
            <a:ext cx="12186571" cy="138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2" y="1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2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3"/>
            <a:ext cx="7717130" cy="436017"/>
          </a:xfrm>
        </p:spPr>
        <p:txBody>
          <a:bodyPr anchor="b"/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0"/>
            <a:ext cx="7698001" cy="200055"/>
          </a:xfrm>
        </p:spPr>
        <p:txBody>
          <a:bodyPr/>
          <a:lstStyle>
            <a:lvl1pPr marL="0" indent="0" algn="r">
              <a:buNone/>
              <a:defRPr sz="13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19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6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5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5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4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6480197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-7198"/>
            <a:ext cx="12186571" cy="138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2" b="455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7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8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9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0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11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12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3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4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5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16" name="Group 24"/>
          <p:cNvGrpSpPr>
            <a:grpSpLocks/>
          </p:cNvGrpSpPr>
          <p:nvPr userDrawn="1"/>
        </p:nvGrpSpPr>
        <p:grpSpPr bwMode="auto">
          <a:xfrm>
            <a:off x="2" y="1"/>
            <a:ext cx="12188380" cy="816395"/>
            <a:chOff x="0" y="0"/>
            <a:chExt cx="6734" cy="567"/>
          </a:xfrm>
        </p:grpSpPr>
        <p:sp>
          <p:nvSpPr>
            <p:cNvPr id="17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8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pic>
        <p:nvPicPr>
          <p:cNvPr id="19" name="Picture 14" descr="AA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1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22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3"/>
            <a:ext cx="7717130" cy="436017"/>
          </a:xfrm>
        </p:spPr>
        <p:txBody>
          <a:bodyPr anchor="b"/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0"/>
            <a:ext cx="7698001" cy="200055"/>
          </a:xfrm>
        </p:spPr>
        <p:txBody>
          <a:bodyPr/>
          <a:lstStyle>
            <a:lvl1pPr marL="0" indent="0" algn="r">
              <a:buNone/>
              <a:defRPr sz="13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19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6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5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5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4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5365491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5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7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8" name="Rectangle 31"/>
          <p:cNvSpPr>
            <a:spLocks noChangeArrowheads="1"/>
          </p:cNvSpPr>
          <p:nvPr userDrawn="1"/>
        </p:nvSpPr>
        <p:spPr bwMode="auto">
          <a:xfrm>
            <a:off x="1" y="4246115"/>
            <a:ext cx="5931293" cy="814954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12" name="Rechthoek 16"/>
          <p:cNvSpPr/>
          <p:nvPr userDrawn="1"/>
        </p:nvSpPr>
        <p:spPr>
          <a:xfrm>
            <a:off x="0" y="1"/>
            <a:ext cx="12192000" cy="11763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56" tIns="45529" rIns="91056" bIns="45529" anchor="ctr"/>
          <a:lstStyle/>
          <a:p>
            <a:pPr algn="ctr" defTabSz="1038646">
              <a:defRPr/>
            </a:pPr>
            <a:endParaRPr lang="nl-NL" sz="2100">
              <a:solidFill>
                <a:prstClr val="white"/>
              </a:solidFill>
            </a:endParaRPr>
          </a:p>
        </p:txBody>
      </p:sp>
      <p:sp>
        <p:nvSpPr>
          <p:cNvPr id="13" name="Rectangle 30"/>
          <p:cNvSpPr>
            <a:spLocks noChangeArrowheads="1"/>
          </p:cNvSpPr>
          <p:nvPr userDrawn="1"/>
        </p:nvSpPr>
        <p:spPr bwMode="auto">
          <a:xfrm>
            <a:off x="10293336" y="3020804"/>
            <a:ext cx="1905904" cy="407478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5" y="3886175"/>
            <a:ext cx="7717130" cy="436017"/>
          </a:xfrm>
        </p:spPr>
        <p:txBody>
          <a:bodyPr/>
          <a:lstStyle>
            <a:lvl1pPr algn="r">
              <a:defRPr sz="2400" b="0" cap="all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72438" y="4744968"/>
            <a:ext cx="7721122" cy="246221"/>
          </a:xfrm>
        </p:spPr>
        <p:txBody>
          <a:bodyPr anchor="b"/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51932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386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579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772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966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159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352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545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14399616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A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0594" y="6423166"/>
            <a:ext cx="1232594" cy="243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164055" y="1339061"/>
            <a:ext cx="9853512" cy="1384995"/>
          </a:xfrm>
        </p:spPr>
        <p:txBody>
          <a:bodyPr/>
          <a:lstStyle>
            <a:lvl1pPr marL="0" indent="0">
              <a:spcBef>
                <a:spcPts val="300"/>
              </a:spcBef>
              <a:spcAft>
                <a:spcPts val="300"/>
              </a:spcAft>
              <a:defRPr b="0">
                <a:solidFill>
                  <a:schemeClr val="bg2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A647FC-EAE2-486D-B070-8C7F9BE84968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8662530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1164614" y="1339061"/>
            <a:ext cx="4603815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423606" y="1327500"/>
            <a:ext cx="4593960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929853-1BC6-4013-B9B3-8B901DF8D41D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691087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2" y="1155704"/>
            <a:ext cx="5410947" cy="4707219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3" y="1150849"/>
            <a:ext cx="5325159" cy="471655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3564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618" y="1151880"/>
            <a:ext cx="10199216" cy="5721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6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7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8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9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2" name="Group 15"/>
          <p:cNvGrpSpPr>
            <a:grpSpLocks/>
          </p:cNvGrpSpPr>
          <p:nvPr userDrawn="1"/>
        </p:nvGrpSpPr>
        <p:grpSpPr bwMode="auto">
          <a:xfrm>
            <a:off x="3622" y="1"/>
            <a:ext cx="12188380" cy="816395"/>
            <a:chOff x="0" y="0"/>
            <a:chExt cx="6734" cy="567"/>
          </a:xfrm>
        </p:grpSpPr>
        <p:sp>
          <p:nvSpPr>
            <p:cNvPr id="13" name="Rectangle 21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103663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prstClr val="black"/>
                </a:solidFill>
              </a:endParaRPr>
            </a:p>
          </p:txBody>
        </p:sp>
        <p:sp>
          <p:nvSpPr>
            <p:cNvPr id="14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103663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prstClr val="black"/>
                </a:solidFill>
              </a:endParaRPr>
            </a:p>
          </p:txBody>
        </p:sp>
      </p:grpSp>
      <p:pic>
        <p:nvPicPr>
          <p:cNvPr id="15" name="Picture 23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7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8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grpSp>
        <p:nvGrpSpPr>
          <p:cNvPr id="1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221842"/>
            <a:ext cx="7717130" cy="436017"/>
          </a:xfrm>
        </p:spPr>
        <p:txBody>
          <a:bodyPr anchor="b"/>
          <a:lstStyle>
            <a:lvl1pPr algn="r">
              <a:defRPr sz="3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4" y="4755834"/>
            <a:ext cx="7698001" cy="246221"/>
          </a:xfrm>
        </p:spPr>
        <p:txBody>
          <a:bodyPr/>
          <a:lstStyle>
            <a:lvl1pPr marL="0" indent="0" algn="r">
              <a:buNone/>
              <a:defRPr sz="16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51798310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wer goals - 4 produ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Arc 28"/>
          <p:cNvSpPr>
            <a:spLocks/>
          </p:cNvSpPr>
          <p:nvPr userDrawn="1"/>
        </p:nvSpPr>
        <p:spPr bwMode="auto">
          <a:xfrm flipH="1" flipV="1">
            <a:off x="317381" y="2871686"/>
            <a:ext cx="5073084" cy="3681514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wrap="none" lIns="100140" tIns="52073" rIns="100140" bIns="52073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0" name="Line 7"/>
          <p:cNvSpPr>
            <a:spLocks noChangeShapeType="1"/>
          </p:cNvSpPr>
          <p:nvPr userDrawn="1"/>
        </p:nvSpPr>
        <p:spPr bwMode="auto">
          <a:xfrm flipH="1">
            <a:off x="486461" y="1024449"/>
            <a:ext cx="9948257" cy="2072214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2" name="Line 8"/>
          <p:cNvSpPr>
            <a:spLocks noChangeShapeType="1"/>
          </p:cNvSpPr>
          <p:nvPr userDrawn="1"/>
        </p:nvSpPr>
        <p:spPr bwMode="auto">
          <a:xfrm flipV="1">
            <a:off x="4207715" y="1385317"/>
            <a:ext cx="6795447" cy="4870910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3" name="Rectangle 94"/>
          <p:cNvSpPr/>
          <p:nvPr userDrawn="1"/>
        </p:nvSpPr>
        <p:spPr bwMode="auto">
          <a:xfrm>
            <a:off x="-33972" y="6262119"/>
            <a:ext cx="12225972" cy="5958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4" name="Rectangle 89"/>
          <p:cNvSpPr/>
          <p:nvPr userDrawn="1"/>
        </p:nvSpPr>
        <p:spPr bwMode="auto">
          <a:xfrm>
            <a:off x="-33970" y="1"/>
            <a:ext cx="753955" cy="6283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2" name="Line 8"/>
          <p:cNvSpPr>
            <a:spLocks noChangeShapeType="1"/>
          </p:cNvSpPr>
          <p:nvPr userDrawn="1"/>
        </p:nvSpPr>
        <p:spPr bwMode="auto">
          <a:xfrm flipV="1">
            <a:off x="8078207" y="1537718"/>
            <a:ext cx="3128153" cy="4718508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87788" tIns="45650" rIns="87788" bIns="45650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4" name="Arc 9"/>
          <p:cNvSpPr>
            <a:spLocks/>
          </p:cNvSpPr>
          <p:nvPr userDrawn="1"/>
        </p:nvSpPr>
        <p:spPr bwMode="auto">
          <a:xfrm rot="10800000">
            <a:off x="9771633" y="677619"/>
            <a:ext cx="1872558" cy="955840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rot="10800000" lIns="0" tIns="0" rIns="0" bIns="0" anchor="ctr"/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 </a:t>
            </a:r>
          </a:p>
        </p:txBody>
      </p:sp>
      <p:sp>
        <p:nvSpPr>
          <p:cNvPr id="65" name="Text Box 159"/>
          <p:cNvSpPr txBox="1">
            <a:spLocks noChangeArrowheads="1"/>
          </p:cNvSpPr>
          <p:nvPr userDrawn="1"/>
        </p:nvSpPr>
        <p:spPr bwMode="auto">
          <a:xfrm rot="10800000">
            <a:off x="722192" y="554110"/>
            <a:ext cx="10921996" cy="582440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/>
          </a:ln>
        </p:spPr>
        <p:txBody>
          <a:bodyPr rot="10800000" lIns="0" tIns="0" rIns="0" bIns="0" anchor="ctr"/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 sz="1300" b="1">
              <a:solidFill>
                <a:srgbClr val="FFFFFF"/>
              </a:solidFill>
              <a:latin typeface="Arial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6" name="Rectangle 80"/>
          <p:cNvSpPr/>
          <p:nvPr userDrawn="1"/>
        </p:nvSpPr>
        <p:spPr bwMode="auto">
          <a:xfrm>
            <a:off x="11660590" y="566083"/>
            <a:ext cx="531411" cy="5770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7" name="TextBox 54"/>
          <p:cNvSpPr txBox="1">
            <a:spLocks noChangeArrowheads="1"/>
          </p:cNvSpPr>
          <p:nvPr userDrawn="1"/>
        </p:nvSpPr>
        <p:spPr bwMode="auto">
          <a:xfrm rot="1865884">
            <a:off x="9927465" y="1026540"/>
            <a:ext cx="1208731" cy="311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10759" tIns="55381" rIns="110759" bIns="55381">
            <a:spAutoFit/>
          </a:bodyPr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Goals</a:t>
            </a:r>
          </a:p>
        </p:txBody>
      </p:sp>
      <p:sp>
        <p:nvSpPr>
          <p:cNvPr id="69" name="Tijdelijke aanduiding voor tekst 46"/>
          <p:cNvSpPr>
            <a:spLocks noGrp="1"/>
          </p:cNvSpPr>
          <p:nvPr>
            <p:ph type="body" sz="quarter" idx="10" hasCustomPrompt="1"/>
          </p:nvPr>
        </p:nvSpPr>
        <p:spPr>
          <a:xfrm>
            <a:off x="798846" y="588135"/>
            <a:ext cx="1881161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1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0" name="Tijdelijke aanduiding voor tekst 46"/>
          <p:cNvSpPr>
            <a:spLocks noGrp="1"/>
          </p:cNvSpPr>
          <p:nvPr>
            <p:ph type="body" sz="quarter" idx="11" hasCustomPrompt="1"/>
          </p:nvPr>
        </p:nvSpPr>
        <p:spPr>
          <a:xfrm>
            <a:off x="3075229" y="588135"/>
            <a:ext cx="3771678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2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1" name="Tijdelijke aanduiding voor tekst 46"/>
          <p:cNvSpPr>
            <a:spLocks noGrp="1"/>
          </p:cNvSpPr>
          <p:nvPr>
            <p:ph type="body" sz="quarter" idx="12" hasCustomPrompt="1"/>
          </p:nvPr>
        </p:nvSpPr>
        <p:spPr>
          <a:xfrm>
            <a:off x="7217734" y="599715"/>
            <a:ext cx="2685997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3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3" name="Tijdelijke aanduiding voor tekst 46"/>
          <p:cNvSpPr>
            <a:spLocks noGrp="1"/>
          </p:cNvSpPr>
          <p:nvPr>
            <p:ph type="body" sz="quarter" idx="13" hasCustomPrompt="1"/>
          </p:nvPr>
        </p:nvSpPr>
        <p:spPr>
          <a:xfrm rot="2039039">
            <a:off x="9822206" y="873813"/>
            <a:ext cx="1881161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</a:t>
            </a:r>
          </a:p>
        </p:txBody>
      </p:sp>
      <p:sp>
        <p:nvSpPr>
          <p:cNvPr id="75" name="Tijdelijke aanduiding voor tekst 46"/>
          <p:cNvSpPr>
            <a:spLocks noGrp="1"/>
          </p:cNvSpPr>
          <p:nvPr>
            <p:ph type="body" sz="quarter" idx="16" hasCustomPrompt="1"/>
          </p:nvPr>
        </p:nvSpPr>
        <p:spPr>
          <a:xfrm>
            <a:off x="595341" y="6283781"/>
            <a:ext cx="3366075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oduct area 2</a:t>
            </a:r>
          </a:p>
        </p:txBody>
      </p:sp>
      <p:sp>
        <p:nvSpPr>
          <p:cNvPr id="82" name="Arc 6"/>
          <p:cNvSpPr>
            <a:spLocks/>
          </p:cNvSpPr>
          <p:nvPr userDrawn="1"/>
        </p:nvSpPr>
        <p:spPr bwMode="auto">
          <a:xfrm flipH="1" flipV="1">
            <a:off x="2813831" y="670407"/>
            <a:ext cx="8830359" cy="4488191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3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85" name="TextBox 54"/>
          <p:cNvSpPr txBox="1">
            <a:spLocks noChangeArrowheads="1"/>
          </p:cNvSpPr>
          <p:nvPr userDrawn="1"/>
        </p:nvSpPr>
        <p:spPr bwMode="auto">
          <a:xfrm rot="423852">
            <a:off x="7945766" y="4836844"/>
            <a:ext cx="2850046" cy="311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10759" tIns="55381" rIns="110759" bIns="55381">
            <a:spAutoFit/>
          </a:bodyPr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 </a:t>
            </a:r>
          </a:p>
        </p:txBody>
      </p:sp>
      <p:sp>
        <p:nvSpPr>
          <p:cNvPr id="86" name="Arc 28"/>
          <p:cNvSpPr>
            <a:spLocks/>
          </p:cNvSpPr>
          <p:nvPr userDrawn="1"/>
        </p:nvSpPr>
        <p:spPr bwMode="auto">
          <a:xfrm flipH="1" flipV="1">
            <a:off x="6971672" y="890662"/>
            <a:ext cx="4676764" cy="2319890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5" name="Line 7"/>
          <p:cNvSpPr>
            <a:spLocks noChangeShapeType="1"/>
          </p:cNvSpPr>
          <p:nvPr userDrawn="1"/>
        </p:nvSpPr>
        <p:spPr bwMode="auto">
          <a:xfrm flipH="1">
            <a:off x="728233" y="1385317"/>
            <a:ext cx="9617511" cy="3887260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6" name="Rectangle 20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 flipH="1">
            <a:off x="-412166" y="1846441"/>
            <a:ext cx="1816288" cy="434483"/>
          </a:xfrm>
          <a:prstGeom prst="rect">
            <a:avLst/>
          </a:prstGeom>
          <a:solidFill>
            <a:srgbClr val="0070C0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  <a:defRPr/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</a:endParaRPr>
          </a:p>
        </p:txBody>
      </p:sp>
      <p:sp>
        <p:nvSpPr>
          <p:cNvPr id="52" name="Rectangle 2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flipH="1">
            <a:off x="8220652" y="6262670"/>
            <a:ext cx="3423548" cy="358477"/>
          </a:xfrm>
          <a:prstGeom prst="rect">
            <a:avLst/>
          </a:prstGeom>
          <a:solidFill>
            <a:srgbClr val="FF9933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  <a:sym typeface="WingDings" pitchFamily="2" charset="2"/>
            </a:endParaRPr>
          </a:p>
        </p:txBody>
      </p:sp>
      <p:sp>
        <p:nvSpPr>
          <p:cNvPr id="58" name="Tijdelijke aanduiding voor tekst 46"/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-358847" y="1923821"/>
            <a:ext cx="1728887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1</a:t>
            </a:r>
          </a:p>
        </p:txBody>
      </p:sp>
      <p:sp>
        <p:nvSpPr>
          <p:cNvPr id="59" name="Tijdelijke aanduiding voor tekst 46"/>
          <p:cNvSpPr>
            <a:spLocks noGrp="1"/>
          </p:cNvSpPr>
          <p:nvPr>
            <p:ph type="body" sz="quarter" idx="15" hasCustomPrompt="1"/>
          </p:nvPr>
        </p:nvSpPr>
        <p:spPr>
          <a:xfrm>
            <a:off x="8558983" y="6302669"/>
            <a:ext cx="2707275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5</a:t>
            </a:r>
          </a:p>
        </p:txBody>
      </p:sp>
      <p:sp>
        <p:nvSpPr>
          <p:cNvPr id="60" name="Rectangle 20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flipH="1">
            <a:off x="4371913" y="6264641"/>
            <a:ext cx="3562802" cy="356508"/>
          </a:xfrm>
          <a:prstGeom prst="rect">
            <a:avLst/>
          </a:prstGeom>
          <a:solidFill>
            <a:srgbClr val="7030A0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  <a:sym typeface="WingDings" pitchFamily="2" charset="2"/>
            </a:endParaRPr>
          </a:p>
        </p:txBody>
      </p:sp>
      <p:sp>
        <p:nvSpPr>
          <p:cNvPr id="61" name="Tijdelijke aanduiding voor tekst 46"/>
          <p:cNvSpPr>
            <a:spLocks noGrp="1"/>
          </p:cNvSpPr>
          <p:nvPr>
            <p:ph type="body" sz="quarter" idx="17" hasCustomPrompt="1"/>
          </p:nvPr>
        </p:nvSpPr>
        <p:spPr>
          <a:xfrm>
            <a:off x="4822314" y="6302670"/>
            <a:ext cx="2783123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4</a:t>
            </a:r>
          </a:p>
        </p:txBody>
      </p:sp>
      <p:sp>
        <p:nvSpPr>
          <p:cNvPr id="47" name="Rectangle 20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 flipH="1">
            <a:off x="-501956" y="3943900"/>
            <a:ext cx="1991319" cy="439035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  <a:defRPr/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</a:endParaRPr>
          </a:p>
        </p:txBody>
      </p:sp>
      <p:sp>
        <p:nvSpPr>
          <p:cNvPr id="48" name="Tijdelijke aanduiding voor tekst 46"/>
          <p:cNvSpPr>
            <a:spLocks noGrp="1"/>
          </p:cNvSpPr>
          <p:nvPr>
            <p:ph type="body" sz="quarter" idx="18" hasCustomPrompt="1"/>
          </p:nvPr>
        </p:nvSpPr>
        <p:spPr>
          <a:xfrm rot="16200000">
            <a:off x="-304114" y="4037760"/>
            <a:ext cx="1663847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2</a:t>
            </a:r>
          </a:p>
        </p:txBody>
      </p:sp>
      <p:sp>
        <p:nvSpPr>
          <p:cNvPr id="3" name="Freeform 2"/>
          <p:cNvSpPr/>
          <p:nvPr userDrawn="1"/>
        </p:nvSpPr>
        <p:spPr>
          <a:xfrm>
            <a:off x="278736" y="5354081"/>
            <a:ext cx="3793710" cy="1267067"/>
          </a:xfrm>
          <a:custGeom>
            <a:avLst/>
            <a:gdLst>
              <a:gd name="connsiteX0" fmla="*/ 381000 w 3327400"/>
              <a:gd name="connsiteY0" fmla="*/ 0 h 1397000"/>
              <a:gd name="connsiteX1" fmla="*/ 0 w 3327400"/>
              <a:gd name="connsiteY1" fmla="*/ 0 h 1397000"/>
              <a:gd name="connsiteX2" fmla="*/ 0 w 3327400"/>
              <a:gd name="connsiteY2" fmla="*/ 1397000 h 1397000"/>
              <a:gd name="connsiteX3" fmla="*/ 3327400 w 3327400"/>
              <a:gd name="connsiteY3" fmla="*/ 1397000 h 1397000"/>
              <a:gd name="connsiteX4" fmla="*/ 3327400 w 3327400"/>
              <a:gd name="connsiteY4" fmla="*/ 1003300 h 1397000"/>
              <a:gd name="connsiteX5" fmla="*/ 381000 w 3327400"/>
              <a:gd name="connsiteY5" fmla="*/ 1003300 h 1397000"/>
              <a:gd name="connsiteX6" fmla="*/ 381000 w 3327400"/>
              <a:gd name="connsiteY6" fmla="*/ 0 h 139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7400" h="1397000">
                <a:moveTo>
                  <a:pt x="381000" y="0"/>
                </a:moveTo>
                <a:lnTo>
                  <a:pt x="0" y="0"/>
                </a:lnTo>
                <a:lnTo>
                  <a:pt x="0" y="1397000"/>
                </a:lnTo>
                <a:lnTo>
                  <a:pt x="3327400" y="1397000"/>
                </a:lnTo>
                <a:lnTo>
                  <a:pt x="3327400" y="1003300"/>
                </a:lnTo>
                <a:lnTo>
                  <a:pt x="381000" y="1003300"/>
                </a:lnTo>
                <a:lnTo>
                  <a:pt x="381000" y="0"/>
                </a:lnTo>
                <a:close/>
              </a:path>
            </a:pathLst>
          </a:custGeom>
          <a:solidFill>
            <a:srgbClr val="00B050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6638" fontAlgn="base">
              <a:spcBef>
                <a:spcPct val="0"/>
              </a:spcBef>
              <a:spcAft>
                <a:spcPct val="0"/>
              </a:spcAft>
            </a:pPr>
            <a:endParaRPr lang="en-GB" sz="2100">
              <a:solidFill>
                <a:prstClr val="white"/>
              </a:solidFill>
            </a:endParaRPr>
          </a:p>
        </p:txBody>
      </p:sp>
      <p:sp>
        <p:nvSpPr>
          <p:cNvPr id="49" name="Tijdelijke aanduiding voor tekst 46"/>
          <p:cNvSpPr>
            <a:spLocks noGrp="1"/>
          </p:cNvSpPr>
          <p:nvPr>
            <p:ph type="body" sz="quarter" idx="19" hasCustomPrompt="1"/>
          </p:nvPr>
        </p:nvSpPr>
        <p:spPr>
          <a:xfrm>
            <a:off x="1005840" y="6302669"/>
            <a:ext cx="2783123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3</a:t>
            </a:r>
          </a:p>
        </p:txBody>
      </p:sp>
      <p:sp>
        <p:nvSpPr>
          <p:cNvPr id="50" name="Rectangle 89"/>
          <p:cNvSpPr/>
          <p:nvPr userDrawn="1"/>
        </p:nvSpPr>
        <p:spPr bwMode="auto">
          <a:xfrm>
            <a:off x="11660590" y="1"/>
            <a:ext cx="531411" cy="6283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4" name="Rectangle 5"/>
          <p:cNvSpPr>
            <a:spLocks noChangeArrowheads="1"/>
          </p:cNvSpPr>
          <p:nvPr userDrawn="1"/>
        </p:nvSpPr>
        <p:spPr bwMode="auto">
          <a:xfrm>
            <a:off x="712603" y="554117"/>
            <a:ext cx="10931595" cy="5708554"/>
          </a:xfrm>
          <a:prstGeom prst="rect">
            <a:avLst/>
          </a:prstGeom>
          <a:noFill/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wrap="none" lIns="83795" tIns="43574" rIns="83795" bIns="43574" anchor="ctr"/>
          <a:lstStyle/>
          <a:p>
            <a:pPr defTabSz="88973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charset="0"/>
              <a:ea typeface="ＭＳ Ｐゴシック" pitchFamily="34" charset="-128"/>
              <a:cs typeface="Arial" pitchFamily="34" charset="0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713219" y="1136549"/>
            <a:ext cx="928616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5019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016097"/>
            <a:ext cx="9144000" cy="1479995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494037"/>
            <a:ext cx="9144000" cy="915099"/>
          </a:xfrm>
        </p:spPr>
        <p:txBody>
          <a:bodyPr/>
          <a:lstStyle>
            <a:lvl1pPr marL="0" indent="0" algn="l">
              <a:buNone/>
              <a:defRPr sz="3200"/>
            </a:lvl1pPr>
            <a:lvl2pPr marL="609585" indent="0" algn="ctr">
              <a:buNone/>
              <a:defRPr sz="270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00"/>
            </a:lvl4pPr>
            <a:lvl5pPr marL="2438339" indent="0" algn="ctr">
              <a:buNone/>
              <a:defRPr sz="2100"/>
            </a:lvl5pPr>
            <a:lvl6pPr marL="3047924" indent="0" algn="ctr">
              <a:buNone/>
              <a:defRPr sz="2100"/>
            </a:lvl6pPr>
            <a:lvl7pPr marL="3657509" indent="0" algn="ctr">
              <a:buNone/>
              <a:defRPr sz="2100"/>
            </a:lvl7pPr>
            <a:lvl8pPr marL="4267093" indent="0" algn="ctr">
              <a:buNone/>
              <a:defRPr sz="2100"/>
            </a:lvl8pPr>
            <a:lvl9pPr marL="4876678" indent="0" algn="ctr">
              <a:buNone/>
              <a:defRPr sz="21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6538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09651" y="1062575"/>
            <a:ext cx="9144000" cy="769372"/>
          </a:xfrm>
        </p:spPr>
        <p:txBody>
          <a:bodyPr anchor="b">
            <a:normAutofit/>
          </a:bodyPr>
          <a:lstStyle>
            <a:lvl1pPr algn="ctr">
              <a:defRPr sz="3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09651" y="1829896"/>
            <a:ext cx="9144000" cy="457549"/>
          </a:xfrm>
        </p:spPr>
        <p:txBody>
          <a:bodyPr>
            <a:normAutofit/>
          </a:bodyPr>
          <a:lstStyle>
            <a:lvl1pPr marL="0" indent="0" algn="ctr">
              <a:buNone/>
              <a:defRPr sz="2700"/>
            </a:lvl1pPr>
            <a:lvl2pPr marL="609585" indent="0" algn="ctr">
              <a:buNone/>
              <a:defRPr sz="270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00"/>
            </a:lvl4pPr>
            <a:lvl5pPr marL="2438339" indent="0" algn="ctr">
              <a:buNone/>
              <a:defRPr sz="2100"/>
            </a:lvl5pPr>
            <a:lvl6pPr marL="3047924" indent="0" algn="ctr">
              <a:buNone/>
              <a:defRPr sz="2100"/>
            </a:lvl6pPr>
            <a:lvl7pPr marL="3657509" indent="0" algn="ctr">
              <a:buNone/>
              <a:defRPr sz="2100"/>
            </a:lvl7pPr>
            <a:lvl8pPr marL="4267093" indent="0" algn="ctr">
              <a:buNone/>
              <a:defRPr sz="2100"/>
            </a:lvl8pPr>
            <a:lvl9pPr marL="4876678" indent="0" algn="ctr">
              <a:buNone/>
              <a:defRPr sz="21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355" y="2440311"/>
            <a:ext cx="3227293" cy="360372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8" t="-15270" r="69878" b="15270"/>
          <a:stretch/>
        </p:blipFill>
        <p:spPr>
          <a:xfrm>
            <a:off x="11241024" y="4702237"/>
            <a:ext cx="950977" cy="215576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4" t="39061" r="63943" b="-3533"/>
          <a:stretch/>
        </p:blipFill>
        <p:spPr>
          <a:xfrm rot="10800000">
            <a:off x="-12192" y="5462016"/>
            <a:ext cx="1075525" cy="1389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980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18136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idx="14"/>
          </p:nvPr>
        </p:nvSpPr>
        <p:spPr bwMode="gray">
          <a:xfrm>
            <a:off x="849718" y="1454459"/>
            <a:ext cx="4921856" cy="69510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21917" tIns="60958" rIns="121917" bIns="60958" numCol="1" anchor="b" anchorCtr="0" compatLnSpc="1">
            <a:prstTxWarp prst="textNoShape">
              <a:avLst/>
            </a:prstTxWarp>
            <a:normAutofit/>
          </a:bodyPr>
          <a:lstStyle>
            <a:lvl1pPr>
              <a:defRPr lang="en-US" sz="2400" b="1" dirty="0" smtClean="0"/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849718" y="2149560"/>
            <a:ext cx="4921856" cy="4100555"/>
          </a:xfrm>
        </p:spPr>
        <p:txBody>
          <a:bodyPr/>
          <a:lstStyle>
            <a:lvl1pPr>
              <a:spcBef>
                <a:spcPts val="1333"/>
              </a:spcBef>
              <a:defRPr sz="2700"/>
            </a:lvl1pPr>
            <a:lvl2pPr>
              <a:spcBef>
                <a:spcPts val="667"/>
              </a:spcBef>
              <a:defRPr sz="2400"/>
            </a:lvl2pPr>
            <a:lvl3pPr>
              <a:spcBef>
                <a:spcPts val="667"/>
              </a:spcBef>
              <a:defRPr sz="2100"/>
            </a:lvl3pPr>
            <a:lvl4pPr>
              <a:spcBef>
                <a:spcPts val="667"/>
              </a:spcBef>
              <a:defRPr sz="1900"/>
            </a:lvl4pPr>
            <a:lvl5pPr marL="2285943" indent="-304792">
              <a:spcBef>
                <a:spcPts val="667"/>
              </a:spcBef>
              <a:defRPr sz="19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6431944" y="1454459"/>
            <a:ext cx="4921856" cy="69510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21917" tIns="60958" rIns="121917" bIns="60958" numCol="1" anchor="b" anchorCtr="0" compatLnSpc="1">
            <a:prstTxWarp prst="textNoShape">
              <a:avLst/>
            </a:prstTxWarp>
            <a:normAutofit/>
          </a:bodyPr>
          <a:lstStyle>
            <a:lvl1pPr>
              <a:defRPr lang="en-US" sz="2400" b="1" dirty="0" smtClean="0"/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4"/>
          </p:nvPr>
        </p:nvSpPr>
        <p:spPr bwMode="gray">
          <a:xfrm>
            <a:off x="6431944" y="2149560"/>
            <a:ext cx="4921856" cy="4100555"/>
          </a:xfrm>
        </p:spPr>
        <p:txBody>
          <a:bodyPr/>
          <a:lstStyle>
            <a:lvl1pPr>
              <a:spcBef>
                <a:spcPts val="1333"/>
              </a:spcBef>
              <a:defRPr sz="2700"/>
            </a:lvl1pPr>
            <a:lvl2pPr>
              <a:spcBef>
                <a:spcPts val="667"/>
              </a:spcBef>
              <a:defRPr sz="2400"/>
            </a:lvl2pPr>
            <a:lvl3pPr>
              <a:spcBef>
                <a:spcPts val="667"/>
              </a:spcBef>
              <a:defRPr sz="2100"/>
            </a:lvl3pPr>
            <a:lvl4pPr>
              <a:spcBef>
                <a:spcPts val="667"/>
              </a:spcBef>
              <a:defRPr sz="1900"/>
            </a:lvl4pPr>
            <a:lvl5pPr marL="2285943" indent="-304792">
              <a:spcBef>
                <a:spcPts val="667"/>
              </a:spcBef>
              <a:defRPr sz="19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40559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563628"/>
            <a:ext cx="5156200" cy="45379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563628"/>
            <a:ext cx="5156200" cy="45379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73712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2"/>
          <p:cNvSpPr>
            <a:spLocks noGrp="1"/>
          </p:cNvSpPr>
          <p:nvPr>
            <p:ph sz="quarter" idx="14"/>
          </p:nvPr>
        </p:nvSpPr>
        <p:spPr>
          <a:xfrm>
            <a:off x="837921" y="1563628"/>
            <a:ext cx="5156480" cy="4537943"/>
          </a:xfrm>
        </p:spPr>
        <p:txBody>
          <a:bodyPr lIns="121917" rIns="121917">
            <a:noAutofit/>
          </a:bodyPr>
          <a:lstStyle>
            <a:lvl1pPr marL="0" indent="0">
              <a:spcBef>
                <a:spcPts val="1333"/>
              </a:spcBef>
              <a:buFontTx/>
              <a:buNone/>
              <a:defRPr sz="1900"/>
            </a:lvl1pPr>
            <a:lvl2pPr marL="533387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2pPr>
            <a:lvl3pPr marL="1066773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3pPr>
            <a:lvl4pPr marL="1523962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4pPr>
            <a:lvl5pPr marL="1981150" indent="0">
              <a:lnSpc>
                <a:spcPct val="95000"/>
              </a:lnSpc>
              <a:spcBef>
                <a:spcPts val="667"/>
              </a:spcBef>
              <a:buFontTx/>
              <a:buNone/>
              <a:tabLst/>
              <a:defRPr sz="1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6197601" y="1563628"/>
            <a:ext cx="5156200" cy="4537943"/>
          </a:xfrm>
        </p:spPr>
        <p:txBody>
          <a:bodyPr lIns="121917" rIns="121917">
            <a:noAutofit/>
          </a:bodyPr>
          <a:lstStyle>
            <a:lvl1pPr marL="0" indent="0">
              <a:spcBef>
                <a:spcPts val="1333"/>
              </a:spcBef>
              <a:buFontTx/>
              <a:buNone/>
              <a:defRPr sz="1900"/>
            </a:lvl1pPr>
            <a:lvl2pPr marL="914377" indent="-380990">
              <a:lnSpc>
                <a:spcPct val="95000"/>
              </a:lnSpc>
              <a:spcBef>
                <a:spcPts val="667"/>
              </a:spcBef>
              <a:defRPr sz="1900"/>
            </a:lvl2pPr>
            <a:lvl3pPr marL="1371566" indent="-304792">
              <a:lnSpc>
                <a:spcPct val="95000"/>
              </a:lnSpc>
              <a:spcBef>
                <a:spcPts val="667"/>
              </a:spcBef>
              <a:defRPr sz="1900"/>
            </a:lvl3pPr>
            <a:lvl4pPr marL="1828754" indent="-304792">
              <a:lnSpc>
                <a:spcPct val="95000"/>
              </a:lnSpc>
              <a:spcBef>
                <a:spcPts val="667"/>
              </a:spcBef>
              <a:defRPr sz="1900"/>
            </a:lvl4pPr>
            <a:lvl5pPr marL="2285943" indent="-304792">
              <a:lnSpc>
                <a:spcPct val="95000"/>
              </a:lnSpc>
              <a:spcBef>
                <a:spcPts val="667"/>
              </a:spcBef>
              <a:tabLst/>
              <a:defRPr sz="1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872550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9684589" y="3597219"/>
            <a:ext cx="2507411" cy="3260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62844" y="6419653"/>
            <a:ext cx="1581912" cy="365125"/>
          </a:xfrm>
        </p:spPr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3230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0804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3" y="2428876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03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4" y="2781315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8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2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4" y="4095767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2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7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4" y="5400991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6" y="1155718"/>
            <a:ext cx="11281134" cy="106256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442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p Bar-b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838200" y="1"/>
            <a:ext cx="10515601" cy="10377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38200" y="1759353"/>
            <a:ext cx="10515601" cy="4326688"/>
          </a:xfrm>
        </p:spPr>
        <p:txBody>
          <a:bodyPr/>
          <a:lstStyle>
            <a:lvl1pPr marL="243834" indent="-243834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00914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Bar-b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838200" y="1759353"/>
            <a:ext cx="10515601" cy="4326688"/>
          </a:xfrm>
        </p:spPr>
        <p:txBody>
          <a:bodyPr/>
          <a:lstStyle>
            <a:lvl1pPr marL="243834" indent="-243834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3978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9" name="Rectangle 30"/>
          <p:cNvSpPr>
            <a:spLocks noChangeArrowheads="1"/>
          </p:cNvSpPr>
          <p:nvPr userDrawn="1"/>
        </p:nvSpPr>
        <p:spPr bwMode="auto">
          <a:xfrm>
            <a:off x="3467917" y="3020803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25" name="Group 37"/>
          <p:cNvGrpSpPr>
            <a:grpSpLocks/>
          </p:cNvGrpSpPr>
          <p:nvPr userDrawn="1"/>
        </p:nvGrpSpPr>
        <p:grpSpPr bwMode="auto">
          <a:xfrm>
            <a:off x="8617298" y="3428282"/>
            <a:ext cx="3572893" cy="1632788"/>
            <a:chOff x="4764" y="2382"/>
            <a:chExt cx="1972" cy="1134"/>
          </a:xfrm>
        </p:grpSpPr>
        <p:sp>
          <p:nvSpPr>
            <p:cNvPr id="26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8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9" name="Rectangle 31"/>
          <p:cNvSpPr>
            <a:spLocks noChangeArrowheads="1"/>
          </p:cNvSpPr>
          <p:nvPr userDrawn="1"/>
        </p:nvSpPr>
        <p:spPr bwMode="auto">
          <a:xfrm>
            <a:off x="2" y="4246116"/>
            <a:ext cx="5931294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pic>
        <p:nvPicPr>
          <p:cNvPr id="1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-7821"/>
            <a:ext cx="12186571" cy="13865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3" y="0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189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2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4"/>
            <a:ext cx="7717130" cy="436017"/>
          </a:xfrm>
        </p:spPr>
        <p:txBody>
          <a:bodyPr wrap="square" lIns="0" tIns="0" rIns="0" bIns="0" anchor="b" anchorCtr="0">
            <a:spAutoFit/>
          </a:bodyPr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2"/>
            <a:ext cx="7698001" cy="169277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35242643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-7821"/>
            <a:ext cx="12186571" cy="13865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1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2" b="45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9" name="Rectangle 30"/>
          <p:cNvSpPr>
            <a:spLocks noChangeArrowheads="1"/>
          </p:cNvSpPr>
          <p:nvPr userDrawn="1"/>
        </p:nvSpPr>
        <p:spPr bwMode="auto">
          <a:xfrm>
            <a:off x="3467917" y="3020803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25" name="Group 37"/>
          <p:cNvGrpSpPr>
            <a:grpSpLocks/>
          </p:cNvGrpSpPr>
          <p:nvPr userDrawn="1"/>
        </p:nvGrpSpPr>
        <p:grpSpPr bwMode="auto">
          <a:xfrm>
            <a:off x="8617298" y="3428282"/>
            <a:ext cx="3572893" cy="1632788"/>
            <a:chOff x="4764" y="2382"/>
            <a:chExt cx="1972" cy="1134"/>
          </a:xfrm>
        </p:grpSpPr>
        <p:sp>
          <p:nvSpPr>
            <p:cNvPr id="26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8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9" name="Rectangle 31"/>
          <p:cNvSpPr>
            <a:spLocks noChangeArrowheads="1"/>
          </p:cNvSpPr>
          <p:nvPr userDrawn="1"/>
        </p:nvSpPr>
        <p:spPr bwMode="auto">
          <a:xfrm>
            <a:off x="2" y="4246116"/>
            <a:ext cx="5931294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3" y="0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189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2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4"/>
            <a:ext cx="7717130" cy="436017"/>
          </a:xfrm>
        </p:spPr>
        <p:txBody>
          <a:bodyPr wrap="square" lIns="0" tIns="0" rIns="0" bIns="0" anchor="b" anchorCtr="0">
            <a:spAutoFit/>
          </a:bodyPr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2"/>
            <a:ext cx="7698001" cy="169277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73546368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1" name="Rectangle 31"/>
          <p:cNvSpPr>
            <a:spLocks noChangeArrowheads="1"/>
          </p:cNvSpPr>
          <p:nvPr userDrawn="1"/>
        </p:nvSpPr>
        <p:spPr bwMode="auto">
          <a:xfrm>
            <a:off x="2" y="4246115"/>
            <a:ext cx="5931294" cy="814954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1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1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5" y="3886177"/>
            <a:ext cx="7717130" cy="436017"/>
          </a:xfrm>
        </p:spPr>
        <p:txBody>
          <a:bodyPr anchor="t"/>
          <a:lstStyle>
            <a:lvl1pPr algn="r">
              <a:defRPr sz="2400" b="0" cap="all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17" name="Rechthoek 16"/>
          <p:cNvSpPr/>
          <p:nvPr userDrawn="1"/>
        </p:nvSpPr>
        <p:spPr>
          <a:xfrm>
            <a:off x="0" y="2"/>
            <a:ext cx="12192000" cy="11757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6" rIns="91412" bIns="45706" rtlCol="0" anchor="ctr"/>
          <a:lstStyle/>
          <a:p>
            <a:pPr algn="ctr" defTabSz="1042744"/>
            <a:endParaRPr lang="nl-NL" sz="2000">
              <a:solidFill>
                <a:prstClr val="white"/>
              </a:solidFill>
            </a:endParaRPr>
          </a:p>
        </p:txBody>
      </p:sp>
      <p:sp>
        <p:nvSpPr>
          <p:cNvPr id="18" name="Rectangle 30"/>
          <p:cNvSpPr>
            <a:spLocks noChangeArrowheads="1"/>
          </p:cNvSpPr>
          <p:nvPr userDrawn="1"/>
        </p:nvSpPr>
        <p:spPr bwMode="auto">
          <a:xfrm>
            <a:off x="10292903" y="3020803"/>
            <a:ext cx="1907123" cy="407478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72408" y="4729580"/>
            <a:ext cx="7721122" cy="261610"/>
          </a:xfrm>
        </p:spPr>
        <p:txBody>
          <a:bodyPr anchor="b"/>
          <a:lstStyle>
            <a:lvl1pPr marL="0" indent="0" algn="r">
              <a:buNone/>
              <a:defRPr sz="1700">
                <a:solidFill>
                  <a:schemeClr val="bg1"/>
                </a:solidFill>
              </a:defRPr>
            </a:lvl1pPr>
            <a:lvl2pPr marL="52137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4274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113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085485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60685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1282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64960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17097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25027597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6" y="358527"/>
            <a:ext cx="11247192" cy="436017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164055" y="1339061"/>
            <a:ext cx="9853512" cy="1384995"/>
          </a:xfrm>
        </p:spPr>
        <p:txBody>
          <a:bodyPr>
            <a:sp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defRPr b="0">
                <a:solidFill>
                  <a:schemeClr val="bg2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2" descr="A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0594" y="6423167"/>
            <a:ext cx="1232594" cy="24333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242711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6" y="358527"/>
            <a:ext cx="11247192" cy="436017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1164584" y="1339061"/>
            <a:ext cx="4603815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423606" y="1327499"/>
            <a:ext cx="4593960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12335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2" y="6153457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4" y="3529033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3" y="3517140"/>
            <a:ext cx="3091847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69934" y="517598"/>
            <a:ext cx="1139829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66" y="487937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1" y="4480404"/>
            <a:ext cx="8257117" cy="3810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r">
              <a:lnSpc>
                <a:spcPts val="2999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1" y="3910339"/>
            <a:ext cx="8257117" cy="508000"/>
          </a:xfrm>
          <a:prstGeom prst="rect">
            <a:avLst/>
          </a:prstGeom>
        </p:spPr>
        <p:txBody>
          <a:bodyPr lIns="91328" tIns="45664" rIns="91328" bIns="45664" anchor="b"/>
          <a:lstStyle>
            <a:lvl1pPr algn="r">
              <a:lnSpc>
                <a:spcPts val="3999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371" y="3311886"/>
            <a:ext cx="1519742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89" y="3188389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9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7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934182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19" y="1220897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8" y="530532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74180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19" y="1220897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32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5506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41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7" y="5051739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22671590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5" y="530532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4" y="1155709"/>
            <a:ext cx="5410947" cy="4707219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45" y="1150853"/>
            <a:ext cx="5325159" cy="471655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79258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5" y="530532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4" y="242887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0" y="2428895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09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3" y="3743336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61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3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3" y="5048571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5" y="5400985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7" y="1155712"/>
            <a:ext cx="11281135" cy="106256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65484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7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3" y="4049924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7" y="5051732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3610286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7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3" y="4049924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7" y="5051732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99398558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2"/>
            <a:ext cx="10363200" cy="1470025"/>
          </a:xfrm>
          <a:prstGeom prst="rect">
            <a:avLst/>
          </a:prstGeom>
        </p:spPr>
        <p:txBody>
          <a:bodyPr lIns="91328" tIns="45664" rIns="91328" bIns="4566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4"/>
            <a:ext cx="8534400" cy="17526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0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4" y="6356360"/>
            <a:ext cx="3860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0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mtClean="0">
                <a:solidFill>
                  <a:srgbClr val="009286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87725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41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7" y="5051739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9100138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50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6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9BD6A8D-D4B2-4ABA-A23E-497588D8D207}" type="datetimeFigureOut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/22/21</a:t>
            </a:fld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66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6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4975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53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60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70055" y="517573"/>
            <a:ext cx="11400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5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anchor="b"/>
          <a:lstStyle>
            <a:lvl1pPr algn="r">
              <a:lnSpc>
                <a:spcPts val="4000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257" y="3311846"/>
            <a:ext cx="15199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6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748740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13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2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30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4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image" Target="../media/image9.emf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60.xml"/><Relationship Id="rId9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14"/>
            <a:ext cx="12192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265647379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3" r:id="rId6"/>
    <p:sldLayoutId id="2147483734" r:id="rId7"/>
    <p:sldLayoutId id="2147483735" r:id="rId8"/>
  </p:sldLayoutIdLst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33"/>
            <a:ext cx="12192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1599187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</p:sldLayoutIdLst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17"/>
            <a:ext cx="12192000" cy="276886"/>
          </a:xfrm>
          <a:prstGeom prst="rect">
            <a:avLst/>
          </a:prstGeom>
          <a:noFill/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325398458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3" r:id="rId6"/>
    <p:sldLayoutId id="2147483754" r:id="rId7"/>
    <p:sldLayoutId id="2147483755" r:id="rId8"/>
    <p:sldLayoutId id="2147483845" r:id="rId9"/>
  </p:sldLayoutIdLst>
  <p:hf sldNum="0" hdr="0" ftr="0" dt="0"/>
  <p:txStyles>
    <p:titleStyle>
      <a:lvl1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353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4702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2055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29408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455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5595" indent="-215899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2811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0162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7514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4866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2217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35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4702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2055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9408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6759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4111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146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881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07"/>
            <a:ext cx="12192000" cy="303418"/>
          </a:xfrm>
          <a:prstGeom prst="rect">
            <a:avLst/>
          </a:prstGeom>
          <a:noFill/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320541814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3" r:id="rId6"/>
    <p:sldLayoutId id="2147483764" r:id="rId7"/>
    <p:sldLayoutId id="2147483765" r:id="rId8"/>
  </p:sldLayoutIdLst>
  <p:hf sldNum="0" hdr="0" ftr="0" dt="0"/>
  <p:txStyles>
    <p:titleStyle>
      <a:lvl1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400544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801085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201628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602171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900" b="1">
          <a:solidFill>
            <a:schemeClr val="bg1"/>
          </a:solidFill>
          <a:latin typeface="+mn-lt"/>
          <a:ea typeface="+mn-ea"/>
          <a:cs typeface="+mn-cs"/>
        </a:defRPr>
      </a:lvl1pPr>
      <a:lvl2pPr marL="1392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900">
          <a:solidFill>
            <a:schemeClr val="hlink"/>
          </a:solidFill>
          <a:latin typeface="+mn-lt"/>
          <a:cs typeface="+mn-cs"/>
        </a:defRPr>
      </a:lvl2pPr>
      <a:lvl3pPr marL="233651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900">
          <a:solidFill>
            <a:schemeClr val="hlink"/>
          </a:solidFill>
          <a:latin typeface="+mn-lt"/>
          <a:cs typeface="+mn-cs"/>
        </a:defRPr>
      </a:lvl3pPr>
      <a:lvl4pPr marL="477035" indent="-241995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4pPr>
      <a:lvl5pPr marL="709294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5pPr>
      <a:lvl6pPr marL="1109837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6pPr>
      <a:lvl7pPr marL="1510380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7pPr>
      <a:lvl8pPr marL="1910923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8pPr>
      <a:lvl9pPr marL="2311465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0544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1085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628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2171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2713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03256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03798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04340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bg1"/>
            </a:gs>
            <a:gs pos="100000">
              <a:schemeClr val="accent5">
                <a:lumMod val="20000"/>
                <a:lumOff val="80000"/>
              </a:schemeClr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9"/>
          <p:cNvSpPr>
            <a:spLocks noChangeArrowheads="1"/>
          </p:cNvSpPr>
          <p:nvPr/>
        </p:nvSpPr>
        <p:spPr bwMode="auto">
          <a:xfrm>
            <a:off x="6096002" y="1"/>
            <a:ext cx="6094191" cy="164143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tint val="0"/>
                  <a:invGamma/>
                  <a:alpha val="0"/>
                </a:schemeClr>
              </a:gs>
              <a:gs pos="100000">
                <a:schemeClr val="accent4">
                  <a:alpha val="37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056" tIns="45529" rIns="91056" bIns="45529" anchor="ctr"/>
          <a:lstStyle/>
          <a:p>
            <a:pPr defTabSz="1038646">
              <a:defRPr/>
            </a:pPr>
            <a:endParaRPr lang="nl-NL" sz="2100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19459" name="Rectangle 17"/>
          <p:cNvSpPr>
            <a:spLocks noChangeArrowheads="1"/>
          </p:cNvSpPr>
          <p:nvPr/>
        </p:nvSpPr>
        <p:spPr bwMode="auto">
          <a:xfrm>
            <a:off x="0" y="865351"/>
            <a:ext cx="4698698" cy="164143"/>
          </a:xfrm>
          <a:prstGeom prst="rect">
            <a:avLst/>
          </a:prstGeom>
          <a:gradFill rotWithShape="1">
            <a:gsLst>
              <a:gs pos="0">
                <a:schemeClr val="accent2">
                  <a:alpha val="50000"/>
                </a:schemeClr>
              </a:gs>
              <a:gs pos="100000">
                <a:srgbClr val="FFFFFF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3" name="Rectangle 20"/>
          <p:cNvSpPr>
            <a:spLocks noChangeArrowheads="1"/>
          </p:cNvSpPr>
          <p:nvPr/>
        </p:nvSpPr>
        <p:spPr bwMode="auto">
          <a:xfrm>
            <a:off x="0" y="1029494"/>
            <a:ext cx="2483287" cy="82071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accent1">
                  <a:gamma/>
                  <a:tint val="0"/>
                  <a:invGamma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056" tIns="45529" rIns="91056" bIns="45529" anchor="ctr"/>
          <a:lstStyle/>
          <a:p>
            <a:pPr defTabSz="1038646">
              <a:defRPr/>
            </a:pPr>
            <a:endParaRPr lang="nl-NL" sz="2100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19461" name="Rectangle 21"/>
          <p:cNvSpPr>
            <a:spLocks noChangeArrowheads="1"/>
          </p:cNvSpPr>
          <p:nvPr/>
        </p:nvSpPr>
        <p:spPr bwMode="auto">
          <a:xfrm>
            <a:off x="9460747" y="164144"/>
            <a:ext cx="2729444" cy="701207"/>
          </a:xfrm>
          <a:prstGeom prst="rect">
            <a:avLst/>
          </a:pr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chemeClr val="accent2">
                  <a:alpha val="29999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462" name="Tijdelijke aanduiding voor titel 1"/>
          <p:cNvSpPr>
            <a:spLocks noGrp="1"/>
          </p:cNvSpPr>
          <p:nvPr>
            <p:ph type="title"/>
          </p:nvPr>
        </p:nvSpPr>
        <p:spPr bwMode="auto">
          <a:xfrm>
            <a:off x="472405" y="358524"/>
            <a:ext cx="11247192" cy="436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altLang="en-US"/>
              <a:t>Klik om de stijl te bewerken</a:t>
            </a:r>
          </a:p>
        </p:txBody>
      </p:sp>
      <p:sp>
        <p:nvSpPr>
          <p:cNvPr id="19463" name="Tijdelijke aanduiding voor tekst 2"/>
          <p:cNvSpPr>
            <a:spLocks noGrp="1"/>
          </p:cNvSpPr>
          <p:nvPr>
            <p:ph type="body" idx="1"/>
          </p:nvPr>
        </p:nvSpPr>
        <p:spPr bwMode="auto">
          <a:xfrm>
            <a:off x="1163815" y="1339060"/>
            <a:ext cx="9853511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altLang="en-US"/>
              <a:t>Klik om de modelstijlen te bewerken</a:t>
            </a:r>
          </a:p>
          <a:p>
            <a:pPr lvl="1"/>
            <a:r>
              <a:rPr lang="nl-NL" altLang="en-US"/>
              <a:t>Tweede niveau</a:t>
            </a:r>
          </a:p>
          <a:p>
            <a:pPr lvl="2"/>
            <a:r>
              <a:rPr lang="nl-NL" altLang="en-US"/>
              <a:t>Derde niveau</a:t>
            </a:r>
          </a:p>
          <a:p>
            <a:pPr lvl="3"/>
            <a:r>
              <a:rPr lang="nl-NL" altLang="en-US"/>
              <a:t>Vierde niveau</a:t>
            </a:r>
          </a:p>
          <a:p>
            <a:pPr lvl="4"/>
            <a:r>
              <a:rPr lang="nl-NL" altLang="en-US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017327" y="6404449"/>
            <a:ext cx="702271" cy="20005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300">
                <a:solidFill>
                  <a:srgbClr val="898989"/>
                </a:solidFill>
                <a:latin typeface="Arial" pitchFamily="34" charset="0"/>
              </a:defRPr>
            </a:lvl1pPr>
          </a:lstStyle>
          <a:p>
            <a:pPr defTabSz="1036638" fontAlgn="base">
              <a:spcBef>
                <a:spcPct val="0"/>
              </a:spcBef>
              <a:spcAft>
                <a:spcPct val="0"/>
              </a:spcAft>
              <a:defRPr/>
            </a:pPr>
            <a:fld id="{FD9B0347-2750-47FA-95B8-2C5668987F6B}" type="slidenum">
              <a:rPr lang="nl-NL">
                <a:ea typeface="ＭＳ Ｐゴシック" pitchFamily="34" charset="-128"/>
              </a:rPr>
              <a:pPr defTabSz="1036638"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nl-NL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29918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</p:sldLayoutIdLst>
  <p:hf hdr="0" ftr="0" dt="0"/>
  <p:txStyles>
    <p:titleStyle>
      <a:lvl1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 kern="1200">
          <a:solidFill>
            <a:schemeClr val="accent1"/>
          </a:solidFill>
          <a:latin typeface="Arial" pitchFamily="34" charset="0"/>
          <a:ea typeface="ＭＳ Ｐゴシック" charset="0"/>
          <a:cs typeface="Arial" pitchFamily="34" charset="0"/>
        </a:defRPr>
      </a:lvl1pPr>
      <a:lvl2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2pPr>
      <a:lvl3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3pPr>
      <a:lvl4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4pPr>
      <a:lvl5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5pPr>
      <a:lvl6pPr marL="4572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6pPr>
      <a:lvl7pPr marL="9144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7pPr>
      <a:lvl8pPr marL="13716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8pPr>
      <a:lvl9pPr marL="18288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441325" indent="-441325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defRPr sz="1400" kern="1200">
          <a:solidFill>
            <a:schemeClr val="bg2"/>
          </a:solidFill>
          <a:latin typeface="Arial" pitchFamily="34" charset="0"/>
          <a:ea typeface="ＭＳ Ｐゴシック" charset="0"/>
          <a:cs typeface="Arial" pitchFamily="34" charset="0"/>
        </a:defRPr>
      </a:lvl1pPr>
      <a:lvl2pPr marL="265113" indent="-265113" algn="l" defTabSz="1038225" rtl="0" eaLnBrk="0" fontAlgn="base" hangingPunct="0">
        <a:spcBef>
          <a:spcPts val="300"/>
        </a:spcBef>
        <a:spcAft>
          <a:spcPts val="300"/>
        </a:spcAft>
        <a:buSzPct val="100000"/>
        <a:buBlip>
          <a:blip r:embed="rId9"/>
        </a:buBlip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2pPr>
      <a:lvl3pPr marL="531813" indent="-249238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3pPr>
      <a:lvl4pPr marL="796925" indent="-239713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4pPr>
      <a:lvl5pPr marL="987425" indent="-179388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5pPr>
      <a:lvl6pPr marL="2856282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75606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94929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14255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9325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646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57973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297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596618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5941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35269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54590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"/>
            <a:ext cx="10515601" cy="1037715"/>
          </a:xfrm>
          <a:prstGeom prst="rect">
            <a:avLst/>
          </a:prstGeom>
        </p:spPr>
        <p:txBody>
          <a:bodyPr vert="horz" lIns="121917" tIns="60958" rIns="121917" bIns="60958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561384"/>
            <a:ext cx="10515601" cy="4615581"/>
          </a:xfrm>
          <a:prstGeom prst="rect">
            <a:avLst/>
          </a:prstGeom>
        </p:spPr>
        <p:txBody>
          <a:bodyPr vert="horz" lIns="121917" tIns="60958" rIns="121917" bIns="6095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771889" y="6449509"/>
            <a:ext cx="1581912" cy="365125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lvl1pPr algn="r">
              <a:defRPr sz="1600">
                <a:solidFill>
                  <a:srgbClr val="158BB9"/>
                </a:solidFill>
                <a:latin typeface="+mn-lt"/>
              </a:defRPr>
            </a:lvl1pPr>
          </a:lstStyle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fld id="{35FD804A-D16B-2A40-9A33-4E39FD5E05FA}" type="slidenum">
              <a:rPr lang="en-US" smtClean="0">
                <a:ea typeface="MS PGothic" panose="020B0600070205080204" pitchFamily="34" charset="-128"/>
              </a:rPr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ea typeface="MS PGothic" panose="020B0600070205080204" pitchFamily="34" charset="-128"/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 flipV="1">
            <a:off x="-24384" y="1025523"/>
            <a:ext cx="12216384" cy="35411"/>
          </a:xfrm>
          <a:prstGeom prst="line">
            <a:avLst/>
          </a:prstGeom>
          <a:ln w="25400">
            <a:solidFill>
              <a:srgbClr val="158BB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 userDrawn="1"/>
        </p:nvSpPr>
        <p:spPr>
          <a:xfrm>
            <a:off x="2300382" y="1104182"/>
            <a:ext cx="246280" cy="400105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54575A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8" t="-15270" r="69878" b="15270"/>
          <a:stretch/>
        </p:blipFill>
        <p:spPr>
          <a:xfrm>
            <a:off x="11241024" y="4702237"/>
            <a:ext cx="950977" cy="215576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4" t="39061" r="63943" b="-3533"/>
          <a:stretch/>
        </p:blipFill>
        <p:spPr>
          <a:xfrm rot="10800000">
            <a:off x="-12192" y="5462016"/>
            <a:ext cx="1075525" cy="1389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93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</p:sldLayoutIdLst>
  <p:hf sldNum="0"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700" kern="1200">
          <a:solidFill>
            <a:srgbClr val="158BB9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Clr>
          <a:srgbClr val="158BB9"/>
        </a:buClr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SzPct val="100000"/>
        <a:buFont typeface=".HelveticaNeueDeskInterface-Regular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Courier New" charset="0"/>
        <a:buChar char="o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.HelveticaNeueDeskInterface-Regular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.HelveticaNeueDeskInterface-Regular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9"/>
          <p:cNvSpPr>
            <a:spLocks noChangeArrowheads="1"/>
          </p:cNvSpPr>
          <p:nvPr/>
        </p:nvSpPr>
        <p:spPr bwMode="auto">
          <a:xfrm>
            <a:off x="6096003" y="2"/>
            <a:ext cx="6094191" cy="164143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tint val="0"/>
                  <a:invGamma/>
                  <a:alpha val="0"/>
                </a:schemeClr>
              </a:gs>
              <a:gs pos="100000">
                <a:schemeClr val="accent4">
                  <a:alpha val="37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2" name="Rectangle 17"/>
          <p:cNvSpPr>
            <a:spLocks noChangeArrowheads="1"/>
          </p:cNvSpPr>
          <p:nvPr/>
        </p:nvSpPr>
        <p:spPr bwMode="auto">
          <a:xfrm>
            <a:off x="0" y="865353"/>
            <a:ext cx="4698698" cy="164143"/>
          </a:xfrm>
          <a:prstGeom prst="rect">
            <a:avLst/>
          </a:prstGeom>
          <a:gradFill rotWithShape="1">
            <a:gsLst>
              <a:gs pos="0">
                <a:schemeClr val="accent2">
                  <a:alpha val="50000"/>
                </a:schemeClr>
              </a:gs>
              <a:gs pos="100000">
                <a:srgbClr val="6CC0B8">
                  <a:gamma/>
                  <a:tint val="0"/>
                  <a:invGamma/>
                  <a:alpha val="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3" name="Rectangle 20"/>
          <p:cNvSpPr>
            <a:spLocks noChangeArrowheads="1"/>
          </p:cNvSpPr>
          <p:nvPr/>
        </p:nvSpPr>
        <p:spPr bwMode="auto">
          <a:xfrm>
            <a:off x="1" y="1029495"/>
            <a:ext cx="2483289" cy="82071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accent1">
                  <a:gamma/>
                  <a:tint val="0"/>
                  <a:invGamma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4" name="Rectangle 21"/>
          <p:cNvSpPr>
            <a:spLocks noChangeArrowheads="1"/>
          </p:cNvSpPr>
          <p:nvPr/>
        </p:nvSpPr>
        <p:spPr bwMode="auto">
          <a:xfrm>
            <a:off x="9460749" y="164145"/>
            <a:ext cx="2729444" cy="701207"/>
          </a:xfrm>
          <a:prstGeom prst="rect">
            <a:avLst/>
          </a:prstGeom>
          <a:gradFill rotWithShape="1">
            <a:gsLst>
              <a:gs pos="0">
                <a:srgbClr val="6CC0B8">
                  <a:gamma/>
                  <a:tint val="0"/>
                  <a:invGamma/>
                  <a:alpha val="0"/>
                </a:srgbClr>
              </a:gs>
              <a:gs pos="100000">
                <a:schemeClr val="accent2">
                  <a:alpha val="30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72406" y="358525"/>
            <a:ext cx="11247192" cy="43601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164055" y="1339061"/>
            <a:ext cx="9853512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017567" y="6404030"/>
            <a:ext cx="702029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1042744"/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 defTabSz="1042744"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580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</p:sldLayoutIdLst>
  <p:hf hdr="0" ftr="0" dt="0"/>
  <p:txStyles>
    <p:titleStyle>
      <a:lvl1pPr algn="l" defTabSz="1042744" rtl="0" eaLnBrk="1" latinLnBrk="0" hangingPunct="1">
        <a:lnSpc>
          <a:spcPts val="3400"/>
        </a:lnSpc>
        <a:spcBef>
          <a:spcPct val="0"/>
        </a:spcBef>
        <a:buNone/>
        <a:defRPr sz="2000" kern="1200">
          <a:solidFill>
            <a:schemeClr val="accent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44367" indent="-444367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None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1pPr>
      <a:lvl2pPr marL="266619" indent="-266619" algn="l" defTabSz="1042744" rtl="0" eaLnBrk="1" latinLnBrk="0" hangingPunct="1">
        <a:spcBef>
          <a:spcPts val="300"/>
        </a:spcBef>
        <a:spcAft>
          <a:spcPts val="300"/>
        </a:spcAft>
        <a:buSzPct val="100000"/>
        <a:buFontTx/>
        <a:buBlip>
          <a:blip r:embed="rId7"/>
        </a:buBlip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2pPr>
      <a:lvl3pPr marL="534828" indent="-250751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3pPr>
      <a:lvl4pPr marL="801447" indent="-241226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4pPr>
      <a:lvl5pPr marL="991890" indent="-180921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2867543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8913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285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1655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72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744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113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485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856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228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600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972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 userDrawn="1"/>
        </p:nvSpPr>
        <p:spPr>
          <a:xfrm>
            <a:off x="0" y="6963017"/>
            <a:ext cx="12192000" cy="276886"/>
          </a:xfrm>
          <a:prstGeom prst="rect">
            <a:avLst/>
          </a:prstGeom>
          <a:noFill/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172823726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5" r:id="rId6"/>
    <p:sldLayoutId id="2147483896" r:id="rId7"/>
    <p:sldLayoutId id="2147483897" r:id="rId8"/>
  </p:sldLayoutIdLst>
  <p:hf sldNum="0" hdr="0" ftr="0" dt="0"/>
  <p:txStyles>
    <p:titleStyle>
      <a:lvl1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353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4702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2055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29408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455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5595" indent="-215899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2811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0162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7514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4866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2217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35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4702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2055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9408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6759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4111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146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881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gif"/><Relationship Id="rId1" Type="http://schemas.openxmlformats.org/officeDocument/2006/relationships/slideLayout" Target="../slideLayouts/slideLayout5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16.png"/><Relationship Id="rId5" Type="http://schemas.openxmlformats.org/officeDocument/2006/relationships/customXml" Target="../ink/ink2.xml"/><Relationship Id="rId4" Type="http://schemas.openxmlformats.org/officeDocument/2006/relationships/image" Target="../media/image15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9011920" y="3624762"/>
            <a:ext cx="3251200" cy="1383888"/>
          </a:xfrm>
        </p:spPr>
        <p:txBody>
          <a:bodyPr anchor="ctr"/>
          <a:lstStyle/>
          <a:p>
            <a:r>
              <a:rPr lang="en-GB" b="1"/>
              <a:t> </a:t>
            </a:r>
          </a:p>
        </p:txBody>
      </p:sp>
      <p:sp>
        <p:nvSpPr>
          <p:cNvPr id="8" name="Title 4"/>
          <p:cNvSpPr>
            <a:spLocks noGrp="1"/>
          </p:cNvSpPr>
          <p:nvPr>
            <p:ph type="ctrTitle"/>
          </p:nvPr>
        </p:nvSpPr>
        <p:spPr>
          <a:xfrm>
            <a:off x="48013" y="3789040"/>
            <a:ext cx="8568267" cy="1035616"/>
          </a:xfrm>
        </p:spPr>
        <p:txBody>
          <a:bodyPr anchor="t"/>
          <a:lstStyle/>
          <a:p>
            <a:r>
              <a:rPr lang="en-GB" sz="2800" dirty="0"/>
              <a:t>OCP Chapter 17</a:t>
            </a:r>
            <a:br>
              <a:rPr lang="en-GB" sz="2800" dirty="0"/>
            </a:br>
            <a:endParaRPr lang="en-US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9336360" y="3501008"/>
            <a:ext cx="2736304" cy="7853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9286"/>
                </a:solidFill>
              </a:rPr>
              <a:t>Roger Janss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009286"/>
                </a:solidFill>
              </a:rPr>
              <a:t>CodeBoosters</a:t>
            </a:r>
            <a:endParaRPr lang="en-US" sz="1600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7062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99090" y="1172438"/>
            <a:ext cx="10636469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Automatic module name </a:t>
            </a:r>
            <a:r>
              <a:rPr lang="nl-NL" sz="2800" dirty="0" err="1"/>
              <a:t>determination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1. </a:t>
            </a:r>
            <a:r>
              <a:rPr lang="nl-NL" sz="2800" dirty="0" err="1"/>
              <a:t>remov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file extension </a:t>
            </a:r>
            <a:r>
              <a:rPr lang="nl-NL" sz="2800" dirty="0" err="1"/>
              <a:t>from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JAR name</a:t>
            </a:r>
          </a:p>
          <a:p>
            <a:r>
              <a:rPr lang="nl-NL" sz="2800" dirty="0"/>
              <a:t>2. </a:t>
            </a:r>
            <a:r>
              <a:rPr lang="nl-NL" sz="2800" dirty="0" err="1"/>
              <a:t>remove</a:t>
            </a:r>
            <a:r>
              <a:rPr lang="nl-NL" sz="2800" dirty="0"/>
              <a:t> </a:t>
            </a:r>
            <a:r>
              <a:rPr lang="nl-NL" sz="2800" dirty="0" err="1"/>
              <a:t>any</a:t>
            </a:r>
            <a:r>
              <a:rPr lang="nl-NL" sz="2800" dirty="0"/>
              <a:t> </a:t>
            </a:r>
            <a:r>
              <a:rPr lang="nl-NL" sz="2800" dirty="0" err="1"/>
              <a:t>version</a:t>
            </a:r>
            <a:r>
              <a:rPr lang="nl-NL" sz="2800" dirty="0"/>
              <a:t> information </a:t>
            </a:r>
            <a:r>
              <a:rPr lang="nl-NL" sz="2800" dirty="0" err="1"/>
              <a:t>from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end of </a:t>
            </a:r>
            <a:r>
              <a:rPr lang="nl-NL" sz="2800" dirty="0" err="1"/>
              <a:t>the</a:t>
            </a:r>
            <a:r>
              <a:rPr lang="nl-NL" sz="2800" dirty="0"/>
              <a:t> nam</a:t>
            </a:r>
          </a:p>
          <a:p>
            <a:r>
              <a:rPr lang="nl-NL" sz="2800" dirty="0"/>
              <a:t>3. </a:t>
            </a:r>
            <a:r>
              <a:rPr lang="nl-NL" sz="2800" dirty="0" err="1"/>
              <a:t>replace</a:t>
            </a:r>
            <a:r>
              <a:rPr lang="nl-NL" sz="2800" dirty="0"/>
              <a:t> </a:t>
            </a:r>
            <a:r>
              <a:rPr lang="nl-NL" sz="2800" dirty="0" err="1"/>
              <a:t>any</a:t>
            </a:r>
            <a:r>
              <a:rPr lang="nl-NL" sz="2800" dirty="0"/>
              <a:t> </a:t>
            </a:r>
            <a:r>
              <a:rPr lang="nl-NL" sz="2800" dirty="0" err="1"/>
              <a:t>remaining</a:t>
            </a:r>
            <a:r>
              <a:rPr lang="nl-NL" sz="2800" dirty="0"/>
              <a:t> </a:t>
            </a:r>
            <a:r>
              <a:rPr lang="nl-NL" sz="2800" dirty="0" err="1"/>
              <a:t>characters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</a:t>
            </a:r>
            <a:r>
              <a:rPr lang="nl-NL" sz="2800" dirty="0" err="1"/>
              <a:t>than</a:t>
            </a:r>
            <a:r>
              <a:rPr lang="nl-NL" sz="2800" dirty="0"/>
              <a:t> letters </a:t>
            </a:r>
            <a:r>
              <a:rPr lang="nl-NL" sz="2800" dirty="0" err="1"/>
              <a:t>and</a:t>
            </a:r>
            <a:r>
              <a:rPr lang="nl-NL" sz="2800" dirty="0"/>
              <a:t> </a:t>
            </a:r>
            <a:r>
              <a:rPr lang="nl-NL" sz="2800" dirty="0" err="1"/>
              <a:t>numbers</a:t>
            </a:r>
            <a:r>
              <a:rPr lang="nl-NL" sz="2800" dirty="0"/>
              <a:t>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dots</a:t>
            </a:r>
            <a:endParaRPr lang="nl-NL" sz="2800" dirty="0"/>
          </a:p>
          <a:p>
            <a:r>
              <a:rPr lang="nl-NL" sz="2800" dirty="0"/>
              <a:t>4. </a:t>
            </a:r>
            <a:r>
              <a:rPr lang="nl-NL" sz="2800" dirty="0" err="1"/>
              <a:t>replace</a:t>
            </a:r>
            <a:r>
              <a:rPr lang="nl-NL" sz="2800" dirty="0"/>
              <a:t> </a:t>
            </a:r>
            <a:r>
              <a:rPr lang="nl-NL" sz="2800" dirty="0" err="1"/>
              <a:t>any</a:t>
            </a:r>
            <a:r>
              <a:rPr lang="nl-NL" sz="2800" dirty="0"/>
              <a:t> </a:t>
            </a:r>
            <a:r>
              <a:rPr lang="nl-NL" sz="2800" dirty="0" err="1"/>
              <a:t>sequences</a:t>
            </a:r>
            <a:r>
              <a:rPr lang="nl-NL" sz="2800" dirty="0"/>
              <a:t> of </a:t>
            </a:r>
            <a:r>
              <a:rPr lang="nl-NL" sz="2800" dirty="0" err="1"/>
              <a:t>dots</a:t>
            </a:r>
            <a:r>
              <a:rPr lang="nl-NL" sz="2800" dirty="0"/>
              <a:t> </a:t>
            </a:r>
            <a:r>
              <a:rPr lang="nl-NL" sz="2800" dirty="0" err="1"/>
              <a:t>with</a:t>
            </a:r>
            <a:r>
              <a:rPr lang="nl-NL" sz="2800" dirty="0"/>
              <a:t> a single dot.</a:t>
            </a:r>
          </a:p>
          <a:p>
            <a:r>
              <a:rPr lang="nl-NL" sz="2800" dirty="0"/>
              <a:t>5. </a:t>
            </a:r>
            <a:r>
              <a:rPr lang="nl-NL" sz="2800" dirty="0" err="1"/>
              <a:t>remov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dot </a:t>
            </a:r>
            <a:r>
              <a:rPr lang="nl-NL" sz="2800" dirty="0" err="1"/>
              <a:t>if</a:t>
            </a:r>
            <a:r>
              <a:rPr lang="nl-NL" sz="2800" dirty="0"/>
              <a:t> </a:t>
            </a:r>
            <a:r>
              <a:rPr lang="nl-NL" sz="2800" dirty="0" err="1"/>
              <a:t>it</a:t>
            </a:r>
            <a:r>
              <a:rPr lang="nl-NL" sz="2800" dirty="0"/>
              <a:t> is </a:t>
            </a:r>
            <a:r>
              <a:rPr lang="nl-NL" sz="2800" dirty="0" err="1"/>
              <a:t>the</a:t>
            </a:r>
            <a:r>
              <a:rPr lang="nl-NL" sz="2800" dirty="0"/>
              <a:t> first or last </a:t>
            </a:r>
            <a:r>
              <a:rPr lang="nl-NL" sz="2800" dirty="0" err="1"/>
              <a:t>character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result</a:t>
            </a:r>
            <a:r>
              <a:rPr lang="nl-NL" sz="2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206615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graphicFrame>
        <p:nvGraphicFramePr>
          <p:cNvPr id="4" name="Tabel 5">
            <a:extLst>
              <a:ext uri="{FF2B5EF4-FFF2-40B4-BE49-F238E27FC236}">
                <a16:creationId xmlns:a16="http://schemas.microsoft.com/office/drawing/2014/main" id="{17CEA9E0-D3C9-564E-8E51-4563377752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4754310"/>
              </p:ext>
            </p:extLst>
          </p:nvPr>
        </p:nvGraphicFramePr>
        <p:xfrm>
          <a:off x="644634" y="2385869"/>
          <a:ext cx="10601435" cy="26218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1198">
                  <a:extLst>
                    <a:ext uri="{9D8B030D-6E8A-4147-A177-3AD203B41FA5}">
                      <a16:colId xmlns:a16="http://schemas.microsoft.com/office/drawing/2014/main" val="2001334720"/>
                    </a:ext>
                  </a:extLst>
                </a:gridCol>
                <a:gridCol w="2809629">
                  <a:extLst>
                    <a:ext uri="{9D8B030D-6E8A-4147-A177-3AD203B41FA5}">
                      <a16:colId xmlns:a16="http://schemas.microsoft.com/office/drawing/2014/main" val="2820033144"/>
                    </a:ext>
                  </a:extLst>
                </a:gridCol>
                <a:gridCol w="3584028">
                  <a:extLst>
                    <a:ext uri="{9D8B030D-6E8A-4147-A177-3AD203B41FA5}">
                      <a16:colId xmlns:a16="http://schemas.microsoft.com/office/drawing/2014/main" val="2728702032"/>
                    </a:ext>
                  </a:extLst>
                </a:gridCol>
                <a:gridCol w="3636580">
                  <a:extLst>
                    <a:ext uri="{9D8B030D-6E8A-4147-A177-3AD203B41FA5}">
                      <a16:colId xmlns:a16="http://schemas.microsoft.com/office/drawing/2014/main" val="3444204209"/>
                    </a:ext>
                  </a:extLst>
                </a:gridCol>
              </a:tblGrid>
              <a:tr h="374549"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Description</a:t>
                      </a:r>
                      <a:endParaRPr lang="nl-NL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Example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14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Example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9915493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JAR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commons2‐x‐1.0.0‐SNAPSHOT.j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</a:t>
                      </a:r>
                      <a:r>
                        <a:rPr lang="nl-NL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_$‐1.0.jar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6643458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move</a:t>
                      </a:r>
                      <a:r>
                        <a:rPr lang="nl-NL" dirty="0"/>
                        <a:t> file exten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commons2‐x‐1.0.0‐SNAPSHO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</a:t>
                      </a:r>
                      <a:r>
                        <a:rPr lang="nl-NL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_$‐1.0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3204112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mov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version</a:t>
                      </a:r>
                      <a:r>
                        <a:rPr lang="nl-NL" dirty="0"/>
                        <a:t> inform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commons2‐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</a:t>
                      </a:r>
                      <a:r>
                        <a:rPr lang="nl-NL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_$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4512812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place</a:t>
                      </a:r>
                      <a:r>
                        <a:rPr lang="nl-NL" dirty="0"/>
                        <a:t> special </a:t>
                      </a:r>
                      <a:r>
                        <a:rPr lang="nl-NL" dirty="0" err="1"/>
                        <a:t>character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14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commons2.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</a:t>
                      </a:r>
                      <a:r>
                        <a:rPr lang="nl-NL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.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9600239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plac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sequence</a:t>
                      </a:r>
                      <a:r>
                        <a:rPr lang="nl-NL" dirty="0"/>
                        <a:t> of </a:t>
                      </a:r>
                      <a:r>
                        <a:rPr lang="nl-NL" dirty="0" err="1"/>
                        <a:t>dot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14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commons2.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mod</a:t>
                      </a:r>
                      <a:r>
                        <a:rPr lang="nl-NL" dirty="0"/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0782370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mov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leading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trailing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dot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14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commons2.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mod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1884289"/>
                  </a:ext>
                </a:extLst>
              </a:tr>
            </a:tbl>
          </a:graphicData>
        </a:graphic>
      </p:graphicFrame>
      <p:sp>
        <p:nvSpPr>
          <p:cNvPr id="6" name="Tekstvak 5">
            <a:extLst>
              <a:ext uri="{FF2B5EF4-FFF2-40B4-BE49-F238E27FC236}">
                <a16:creationId xmlns:a16="http://schemas.microsoft.com/office/drawing/2014/main" id="{D540218D-5742-6043-9526-B83C24C614CC}"/>
              </a:ext>
            </a:extLst>
          </p:cNvPr>
          <p:cNvSpPr txBox="1"/>
          <p:nvPr/>
        </p:nvSpPr>
        <p:spPr>
          <a:xfrm>
            <a:off x="644634" y="1182948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Example</a:t>
            </a:r>
            <a:r>
              <a:rPr lang="nl-NL" sz="2800" dirty="0"/>
              <a:t> module name </a:t>
            </a:r>
            <a:r>
              <a:rPr lang="nl-NL" sz="2800" dirty="0" err="1"/>
              <a:t>determination</a:t>
            </a:r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6279802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/>
              <a:t>Does </a:t>
            </a:r>
            <a:r>
              <a:rPr lang="nl-NL" sz="2800" dirty="0" err="1"/>
              <a:t>an</a:t>
            </a:r>
            <a:r>
              <a:rPr lang="nl-NL" sz="2800" dirty="0"/>
              <a:t> automatic module have a module-info file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429000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. A </a:t>
            </a:r>
            <a:r>
              <a:rPr lang="nl-NL" sz="2800" dirty="0" err="1"/>
              <a:t>named</a:t>
            </a:r>
            <a:r>
              <a:rPr lang="nl-NL" sz="2800" dirty="0"/>
              <a:t> module does. An </a:t>
            </a:r>
            <a:r>
              <a:rPr lang="nl-NL" sz="2800" dirty="0" err="1"/>
              <a:t>unnamed</a:t>
            </a:r>
            <a:r>
              <a:rPr lang="nl-NL" sz="2800" dirty="0"/>
              <a:t> module </a:t>
            </a:r>
            <a:r>
              <a:rPr lang="nl-NL" sz="2800" dirty="0" err="1"/>
              <a:t>may</a:t>
            </a:r>
            <a:r>
              <a:rPr lang="nl-NL" sz="2800" dirty="0"/>
              <a:t> have </a:t>
            </a:r>
            <a:r>
              <a:rPr lang="nl-NL" sz="2800" dirty="0" err="1"/>
              <a:t>such</a:t>
            </a:r>
            <a:r>
              <a:rPr lang="nl-NL" sz="2800" dirty="0"/>
              <a:t> a file but </a:t>
            </a:r>
            <a:r>
              <a:rPr lang="nl-NL" sz="2800" dirty="0" err="1"/>
              <a:t>it</a:t>
            </a:r>
            <a:r>
              <a:rPr lang="nl-NL" sz="2800" dirty="0"/>
              <a:t> </a:t>
            </a:r>
            <a:r>
              <a:rPr lang="nl-NL" sz="2800" dirty="0" err="1"/>
              <a:t>will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</a:t>
            </a:r>
            <a:r>
              <a:rPr lang="nl-NL" sz="2800" dirty="0" err="1"/>
              <a:t>ignored</a:t>
            </a:r>
            <a:r>
              <a:rPr lang="nl-NL" sz="28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5504533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/>
              <a:t>Is </a:t>
            </a:r>
            <a:r>
              <a:rPr lang="nl-NL" sz="2800" dirty="0" err="1"/>
              <a:t>an</a:t>
            </a:r>
            <a:r>
              <a:rPr lang="nl-NL" sz="2800" dirty="0"/>
              <a:t> </a:t>
            </a:r>
            <a:r>
              <a:rPr lang="nl-NL" sz="2800" dirty="0" err="1"/>
              <a:t>unnamed</a:t>
            </a:r>
            <a:r>
              <a:rPr lang="nl-NL" sz="2800" dirty="0"/>
              <a:t> module </a:t>
            </a:r>
            <a:r>
              <a:rPr lang="nl-NL" sz="2800" dirty="0" err="1"/>
              <a:t>readable</a:t>
            </a:r>
            <a:r>
              <a:rPr lang="nl-NL" sz="2800" dirty="0"/>
              <a:t> </a:t>
            </a:r>
            <a:r>
              <a:rPr lang="nl-NL" sz="2800" dirty="0" err="1"/>
              <a:t>by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modules on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r>
              <a:rPr lang="nl-NL" sz="2800" dirty="0"/>
              <a:t>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429000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. </a:t>
            </a:r>
            <a:r>
              <a:rPr lang="nl-NL" sz="2800" dirty="0" err="1"/>
              <a:t>Only</a:t>
            </a:r>
            <a:r>
              <a:rPr lang="nl-NL" sz="2800" dirty="0"/>
              <a:t> </a:t>
            </a:r>
            <a:r>
              <a:rPr lang="nl-NL" sz="2800" dirty="0" err="1"/>
              <a:t>named</a:t>
            </a:r>
            <a:r>
              <a:rPr lang="nl-NL" sz="2800" dirty="0"/>
              <a:t> </a:t>
            </a:r>
            <a:r>
              <a:rPr lang="nl-NL" sz="2800" dirty="0" err="1"/>
              <a:t>and</a:t>
            </a:r>
            <a:r>
              <a:rPr lang="nl-NL" sz="2800" dirty="0"/>
              <a:t> automatic modules are </a:t>
            </a:r>
            <a:r>
              <a:rPr lang="nl-NL" sz="2800" dirty="0" err="1"/>
              <a:t>accessible</a:t>
            </a:r>
            <a:r>
              <a:rPr lang="nl-NL" sz="2800" dirty="0"/>
              <a:t> </a:t>
            </a:r>
            <a:r>
              <a:rPr lang="nl-NL" sz="2800" dirty="0" err="1"/>
              <a:t>from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r>
              <a:rPr lang="nl-NL" sz="2800" dirty="0"/>
              <a:t>! </a:t>
            </a:r>
          </a:p>
        </p:txBody>
      </p:sp>
    </p:spTree>
    <p:extLst>
      <p:ext uri="{BB962C8B-B14F-4D97-AF65-F5344CB8AC3E}">
        <p14:creationId xmlns:p14="http://schemas.microsoft.com/office/powerpoint/2010/main" val="2732483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Migrating</a:t>
            </a:r>
            <a:r>
              <a:rPr lang="nl-NL" sz="2800" dirty="0"/>
              <a:t> non </a:t>
            </a:r>
            <a:r>
              <a:rPr lang="nl-NL" sz="2800" dirty="0" err="1"/>
              <a:t>modular</a:t>
            </a:r>
            <a:r>
              <a:rPr lang="nl-NL" sz="2800" dirty="0"/>
              <a:t> </a:t>
            </a:r>
            <a:r>
              <a:rPr lang="nl-NL" sz="2800" dirty="0" err="1"/>
              <a:t>applications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Bottom up</a:t>
            </a:r>
          </a:p>
          <a:p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Create</a:t>
            </a:r>
            <a:r>
              <a:rPr lang="nl-NL" sz="2800" dirty="0"/>
              <a:t> </a:t>
            </a:r>
            <a:r>
              <a:rPr lang="nl-NL" sz="2800" dirty="0" err="1"/>
              <a:t>dependency</a:t>
            </a:r>
            <a:r>
              <a:rPr lang="nl-NL" sz="2800" dirty="0"/>
              <a:t> </a:t>
            </a:r>
            <a:r>
              <a:rPr lang="nl-NL" sz="2800" dirty="0" err="1"/>
              <a:t>graph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packages / </a:t>
            </a:r>
            <a:r>
              <a:rPr lang="nl-NL" sz="2800" dirty="0" err="1"/>
              <a:t>libs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/>
              <a:t>Start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package/</a:t>
            </a:r>
            <a:r>
              <a:rPr lang="nl-NL" sz="2800" dirty="0" err="1"/>
              <a:t>lib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has no </a:t>
            </a:r>
            <a:r>
              <a:rPr lang="nl-NL" sz="2800" dirty="0" err="1"/>
              <a:t>dependencies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Add</a:t>
            </a:r>
            <a:r>
              <a:rPr lang="nl-NL" sz="2800" dirty="0"/>
              <a:t> module-info (</a:t>
            </a:r>
            <a:r>
              <a:rPr lang="nl-NL" sz="2800" dirty="0" err="1"/>
              <a:t>with</a:t>
            </a:r>
            <a:r>
              <a:rPr lang="nl-NL" sz="2800" dirty="0"/>
              <a:t> exports, </a:t>
            </a:r>
            <a:r>
              <a:rPr lang="nl-NL" sz="2800" dirty="0" err="1"/>
              <a:t>requires</a:t>
            </a:r>
            <a:r>
              <a:rPr lang="nl-NL" sz="2800" dirty="0"/>
              <a:t>)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800" dirty="0"/>
              <a:t>Move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peat</a:t>
            </a:r>
            <a:r>
              <a:rPr lang="nl-NL" sz="2800" dirty="0"/>
              <a:t> </a:t>
            </a:r>
            <a:r>
              <a:rPr lang="nl-NL" sz="2800" dirty="0" err="1"/>
              <a:t>from</a:t>
            </a:r>
            <a:r>
              <a:rPr lang="nl-NL" sz="2800" dirty="0"/>
              <a:t>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804422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7F0353C0-C3C9-4647-85E7-9D47B2B2A4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4633" y="1159238"/>
            <a:ext cx="6422733" cy="4539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2083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5109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Top down</a:t>
            </a:r>
          </a:p>
          <a:p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Create</a:t>
            </a:r>
            <a:r>
              <a:rPr lang="nl-NL" sz="2800" dirty="0"/>
              <a:t> </a:t>
            </a:r>
            <a:r>
              <a:rPr lang="nl-NL" sz="2800" dirty="0" err="1"/>
              <a:t>dependency</a:t>
            </a:r>
            <a:r>
              <a:rPr lang="nl-NL" sz="2800" dirty="0"/>
              <a:t> </a:t>
            </a:r>
            <a:r>
              <a:rPr lang="nl-NL" sz="2800" dirty="0" err="1"/>
              <a:t>graph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packages / </a:t>
            </a:r>
            <a:r>
              <a:rPr lang="nl-NL" sz="2800" dirty="0" err="1"/>
              <a:t>libs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/>
              <a:t>Put </a:t>
            </a:r>
            <a:r>
              <a:rPr lang="nl-NL" sz="2800" dirty="0" err="1"/>
              <a:t>all</a:t>
            </a:r>
            <a:r>
              <a:rPr lang="nl-NL" sz="2800" dirty="0"/>
              <a:t> packages / </a:t>
            </a:r>
            <a:r>
              <a:rPr lang="nl-NL" sz="2800" dirty="0" err="1"/>
              <a:t>libs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/>
              <a:t>Select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highest</a:t>
            </a:r>
            <a:r>
              <a:rPr lang="nl-NL" sz="2800" dirty="0"/>
              <a:t> level </a:t>
            </a:r>
            <a:r>
              <a:rPr lang="nl-NL" sz="2800" dirty="0" err="1"/>
              <a:t>that</a:t>
            </a:r>
            <a:r>
              <a:rPr lang="nl-NL" sz="2800" dirty="0"/>
              <a:t> has </a:t>
            </a:r>
            <a:r>
              <a:rPr lang="nl-NL" sz="2800" dirty="0" err="1"/>
              <a:t>not</a:t>
            </a:r>
            <a:r>
              <a:rPr lang="nl-NL" sz="2800" dirty="0"/>
              <a:t> </a:t>
            </a:r>
            <a:r>
              <a:rPr lang="nl-NL" sz="2800" dirty="0" err="1"/>
              <a:t>yet</a:t>
            </a:r>
            <a:r>
              <a:rPr lang="nl-NL" sz="2800" dirty="0"/>
              <a:t> been </a:t>
            </a:r>
            <a:r>
              <a:rPr lang="nl-NL" sz="2800" dirty="0" err="1"/>
              <a:t>migrated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Add</a:t>
            </a:r>
            <a:r>
              <a:rPr lang="nl-NL" sz="2800" dirty="0"/>
              <a:t> module-info (</a:t>
            </a:r>
            <a:r>
              <a:rPr lang="nl-NL" sz="2800" dirty="0" err="1"/>
              <a:t>with</a:t>
            </a:r>
            <a:r>
              <a:rPr lang="nl-NL" sz="2800" dirty="0"/>
              <a:t> exports, </a:t>
            </a:r>
            <a:r>
              <a:rPr lang="nl-NL" sz="2800" dirty="0" err="1"/>
              <a:t>requires</a:t>
            </a:r>
            <a:r>
              <a:rPr lang="nl-NL" sz="2800" dirty="0"/>
              <a:t>)</a:t>
            </a:r>
          </a:p>
          <a:p>
            <a:pPr marL="971550" lvl="1" indent="-514350">
              <a:buFont typeface="+mj-lt"/>
              <a:buAutoNum type="arabicPeriod"/>
            </a:pP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automatic </a:t>
            </a:r>
            <a:r>
              <a:rPr lang="nl-NL" sz="2800" dirty="0" err="1"/>
              <a:t>derived</a:t>
            </a:r>
            <a:r>
              <a:rPr lang="nl-NL" sz="2800" dirty="0"/>
              <a:t> </a:t>
            </a:r>
            <a:r>
              <a:rPr lang="nl-NL" sz="2800" dirty="0" err="1"/>
              <a:t>name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required</a:t>
            </a:r>
            <a:r>
              <a:rPr lang="nl-NL" sz="2800" dirty="0"/>
              <a:t> modules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peat</a:t>
            </a:r>
            <a:r>
              <a:rPr lang="nl-NL" sz="2800" dirty="0"/>
              <a:t> </a:t>
            </a:r>
            <a:r>
              <a:rPr lang="nl-NL" sz="2800" dirty="0" err="1"/>
              <a:t>from</a:t>
            </a:r>
            <a:r>
              <a:rPr lang="nl-NL" sz="2800" dirty="0"/>
              <a:t>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134305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3AA16439-7945-3C4F-BD32-47F455C9F3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507" y="1135118"/>
            <a:ext cx="6490985" cy="4587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4183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Migration </a:t>
            </a:r>
            <a:r>
              <a:rPr lang="nl-NL" sz="2800" dirty="0" err="1"/>
              <a:t>strategies</a:t>
            </a:r>
            <a:r>
              <a:rPr lang="nl-NL" sz="2800" dirty="0"/>
              <a:t> </a:t>
            </a:r>
            <a:r>
              <a:rPr lang="nl-NL" sz="2800" dirty="0" err="1"/>
              <a:t>compared</a:t>
            </a:r>
            <a:endParaRPr lang="nl-NL" sz="2800" dirty="0"/>
          </a:p>
        </p:txBody>
      </p:sp>
      <p:graphicFrame>
        <p:nvGraphicFramePr>
          <p:cNvPr id="4" name="Tabel 5">
            <a:extLst>
              <a:ext uri="{FF2B5EF4-FFF2-40B4-BE49-F238E27FC236}">
                <a16:creationId xmlns:a16="http://schemas.microsoft.com/office/drawing/2014/main" id="{6CF4FEDD-33FA-E84A-8ACB-37B2CC2879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138967"/>
              </p:ext>
            </p:extLst>
          </p:nvPr>
        </p:nvGraphicFramePr>
        <p:xfrm>
          <a:off x="1057374" y="2034068"/>
          <a:ext cx="10077252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59084">
                  <a:extLst>
                    <a:ext uri="{9D8B030D-6E8A-4147-A177-3AD203B41FA5}">
                      <a16:colId xmlns:a16="http://schemas.microsoft.com/office/drawing/2014/main" val="1712910218"/>
                    </a:ext>
                  </a:extLst>
                </a:gridCol>
                <a:gridCol w="3359084">
                  <a:extLst>
                    <a:ext uri="{9D8B030D-6E8A-4147-A177-3AD203B41FA5}">
                      <a16:colId xmlns:a16="http://schemas.microsoft.com/office/drawing/2014/main" val="2168126083"/>
                    </a:ext>
                  </a:extLst>
                </a:gridCol>
                <a:gridCol w="3359084">
                  <a:extLst>
                    <a:ext uri="{9D8B030D-6E8A-4147-A177-3AD203B41FA5}">
                      <a16:colId xmlns:a16="http://schemas.microsoft.com/office/drawing/2014/main" val="90415511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Category</a:t>
                      </a:r>
                      <a:endParaRPr lang="nl-NL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Bottom 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Top dow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80575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A project </a:t>
                      </a:r>
                      <a:r>
                        <a:rPr lang="nl-NL" dirty="0" err="1"/>
                        <a:t>that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depends</a:t>
                      </a:r>
                      <a:r>
                        <a:rPr lang="nl-NL" dirty="0"/>
                        <a:t> on </a:t>
                      </a:r>
                      <a:r>
                        <a:rPr lang="nl-NL" dirty="0" err="1"/>
                        <a:t>all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ther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Unnamed</a:t>
                      </a:r>
                      <a:r>
                        <a:rPr lang="nl-NL" dirty="0"/>
                        <a:t> module on </a:t>
                      </a:r>
                      <a:r>
                        <a:rPr lang="nl-NL" dirty="0" err="1"/>
                        <a:t>th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classpath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Named</a:t>
                      </a:r>
                      <a:r>
                        <a:rPr lang="nl-NL" dirty="0"/>
                        <a:t> module on </a:t>
                      </a:r>
                      <a:r>
                        <a:rPr lang="nl-NL" dirty="0" err="1"/>
                        <a:t>the</a:t>
                      </a:r>
                      <a:r>
                        <a:rPr lang="nl-NL" dirty="0"/>
                        <a:t> module </a:t>
                      </a:r>
                      <a:r>
                        <a:rPr lang="nl-NL" dirty="0" err="1"/>
                        <a:t>path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02765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A project </a:t>
                      </a:r>
                      <a:r>
                        <a:rPr lang="nl-NL" dirty="0" err="1"/>
                        <a:t>that</a:t>
                      </a:r>
                      <a:r>
                        <a:rPr lang="nl-NL" dirty="0"/>
                        <a:t> has no </a:t>
                      </a:r>
                      <a:r>
                        <a:rPr lang="nl-NL" dirty="0" err="1"/>
                        <a:t>dependencie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Named</a:t>
                      </a:r>
                      <a:r>
                        <a:rPr lang="nl-NL" dirty="0"/>
                        <a:t> module on </a:t>
                      </a:r>
                      <a:r>
                        <a:rPr lang="nl-NL" dirty="0" err="1"/>
                        <a:t>the</a:t>
                      </a:r>
                      <a:r>
                        <a:rPr lang="nl-NL" dirty="0"/>
                        <a:t> module </a:t>
                      </a:r>
                      <a:r>
                        <a:rPr lang="nl-NL" dirty="0" err="1"/>
                        <a:t>path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Automatic module on </a:t>
                      </a:r>
                      <a:r>
                        <a:rPr lang="nl-NL" dirty="0" err="1"/>
                        <a:t>the</a:t>
                      </a:r>
                      <a:r>
                        <a:rPr lang="nl-NL" dirty="0"/>
                        <a:t> module </a:t>
                      </a:r>
                      <a:r>
                        <a:rPr lang="nl-NL" dirty="0" err="1"/>
                        <a:t>path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0762276"/>
                  </a:ext>
                </a:extLst>
              </a:tr>
            </a:tbl>
          </a:graphicData>
        </a:graphic>
      </p:graphicFrame>
      <p:sp>
        <p:nvSpPr>
          <p:cNvPr id="6" name="Tekstvak 5">
            <a:extLst>
              <a:ext uri="{FF2B5EF4-FFF2-40B4-BE49-F238E27FC236}">
                <a16:creationId xmlns:a16="http://schemas.microsoft.com/office/drawing/2014/main" id="{72BFE1B6-6071-154D-A594-AC7255C39A77}"/>
              </a:ext>
            </a:extLst>
          </p:cNvPr>
          <p:cNvSpPr txBox="1"/>
          <p:nvPr/>
        </p:nvSpPr>
        <p:spPr>
          <a:xfrm>
            <a:off x="1057373" y="4117620"/>
            <a:ext cx="100772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/>
              <a:t>Bottom up: </a:t>
            </a:r>
            <a:r>
              <a:rPr lang="nl-NL" dirty="0" err="1"/>
              <a:t>when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are in control of </a:t>
            </a:r>
            <a:r>
              <a:rPr lang="nl-NL" dirty="0" err="1"/>
              <a:t>all</a:t>
            </a:r>
            <a:r>
              <a:rPr lang="nl-NL" dirty="0"/>
              <a:t> </a:t>
            </a:r>
            <a:r>
              <a:rPr lang="nl-NL" dirty="0" err="1"/>
              <a:t>libs</a:t>
            </a:r>
            <a:r>
              <a:rPr lang="nl-NL" dirty="0"/>
              <a:t>/</a:t>
            </a:r>
            <a:r>
              <a:rPr lang="nl-NL" dirty="0" err="1"/>
              <a:t>jars</a:t>
            </a:r>
            <a:r>
              <a:rPr lang="nl-NL" dirty="0"/>
              <a:t>.</a:t>
            </a:r>
          </a:p>
          <a:p>
            <a:r>
              <a:rPr lang="nl-NL" dirty="0"/>
              <a:t>Top down: </a:t>
            </a:r>
            <a:r>
              <a:rPr lang="nl-NL" dirty="0" err="1"/>
              <a:t>when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are </a:t>
            </a:r>
            <a:r>
              <a:rPr lang="nl-NL" dirty="0" err="1"/>
              <a:t>not</a:t>
            </a:r>
            <a:r>
              <a:rPr lang="nl-NL" dirty="0"/>
              <a:t> in control of </a:t>
            </a:r>
            <a:r>
              <a:rPr lang="nl-NL" dirty="0" err="1"/>
              <a:t>all</a:t>
            </a:r>
            <a:r>
              <a:rPr lang="nl-NL" dirty="0"/>
              <a:t> </a:t>
            </a:r>
            <a:r>
              <a:rPr lang="nl-NL" dirty="0" err="1"/>
              <a:t>libs</a:t>
            </a:r>
            <a:r>
              <a:rPr lang="nl-NL" dirty="0"/>
              <a:t>/</a:t>
            </a:r>
            <a:r>
              <a:rPr lang="nl-NL" dirty="0" err="1"/>
              <a:t>jars</a:t>
            </a:r>
            <a:r>
              <a:rPr lang="nl-NL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888424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443841"/>
            <a:ext cx="90104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Services</a:t>
            </a:r>
          </a:p>
          <a:p>
            <a:endParaRPr lang="nl-NL" sz="2800" dirty="0"/>
          </a:p>
          <a:p>
            <a:r>
              <a:rPr lang="nl-NL" sz="2800" dirty="0" err="1"/>
              <a:t>Consist</a:t>
            </a:r>
            <a:r>
              <a:rPr lang="nl-NL" sz="2800" dirty="0"/>
              <a:t> of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an</a:t>
            </a:r>
            <a:r>
              <a:rPr lang="nl-NL" sz="2800" dirty="0"/>
              <a:t> interface / abstract class </a:t>
            </a:r>
            <a:r>
              <a:rPr lang="nl-NL" sz="2800" dirty="0" err="1"/>
              <a:t>decribing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servi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any</a:t>
            </a:r>
            <a:r>
              <a:rPr lang="nl-NL" sz="2800" dirty="0"/>
              <a:t> classes </a:t>
            </a:r>
            <a:r>
              <a:rPr lang="nl-NL" sz="2800" dirty="0" err="1"/>
              <a:t>the</a:t>
            </a:r>
            <a:r>
              <a:rPr lang="nl-NL" sz="2800" dirty="0"/>
              <a:t> interface </a:t>
            </a:r>
            <a:r>
              <a:rPr lang="nl-NL" sz="2800" dirty="0" err="1"/>
              <a:t>references</a:t>
            </a:r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some</a:t>
            </a:r>
            <a:r>
              <a:rPr lang="nl-NL" sz="2800" dirty="0"/>
              <a:t> </a:t>
            </a:r>
            <a:r>
              <a:rPr lang="nl-NL" sz="2800" dirty="0" err="1"/>
              <a:t>method</a:t>
            </a:r>
            <a:r>
              <a:rPr lang="nl-NL" sz="2800" dirty="0"/>
              <a:t> of </a:t>
            </a:r>
            <a:r>
              <a:rPr lang="nl-NL" sz="2800" dirty="0" err="1"/>
              <a:t>looking</a:t>
            </a:r>
            <a:r>
              <a:rPr lang="nl-NL" sz="2800" dirty="0"/>
              <a:t> up </a:t>
            </a:r>
            <a:r>
              <a:rPr lang="nl-NL" sz="2800" dirty="0" err="1"/>
              <a:t>implementations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service</a:t>
            </a:r>
          </a:p>
          <a:p>
            <a:endParaRPr lang="nl-NL" sz="2800" dirty="0"/>
          </a:p>
          <a:p>
            <a:r>
              <a:rPr lang="nl-NL" sz="2800" dirty="0" err="1"/>
              <a:t>Note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</a:t>
            </a:r>
            <a:r>
              <a:rPr lang="nl-NL" sz="2800" dirty="0" err="1"/>
              <a:t>implementations</a:t>
            </a:r>
            <a:r>
              <a:rPr lang="nl-NL" sz="2800" dirty="0"/>
              <a:t> are </a:t>
            </a:r>
            <a:r>
              <a:rPr lang="nl-NL" sz="2800" dirty="0" err="1"/>
              <a:t>not</a:t>
            </a:r>
            <a:r>
              <a:rPr lang="nl-NL" sz="2800" dirty="0"/>
              <a:t> part of </a:t>
            </a:r>
            <a:r>
              <a:rPr lang="nl-NL" sz="2800" dirty="0" err="1"/>
              <a:t>the</a:t>
            </a:r>
            <a:r>
              <a:rPr lang="nl-NL" sz="2800" dirty="0"/>
              <a:t> service!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080985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Introduction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F4EEA0-0273-4743-BAF3-E5D04B6973EB}"/>
              </a:ext>
            </a:extLst>
          </p:cNvPr>
          <p:cNvSpPr txBox="1"/>
          <p:nvPr/>
        </p:nvSpPr>
        <p:spPr>
          <a:xfrm>
            <a:off x="1199456" y="1412776"/>
            <a:ext cx="97930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/>
              <a:t>Modules</a:t>
            </a:r>
            <a:endParaRPr lang="nl-NL" sz="2800" dirty="0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9C4F6EDB-AAFD-464F-938C-BD9010F005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2245379"/>
            <a:ext cx="4749500" cy="2822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7295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609601" y="1172438"/>
            <a:ext cx="106905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Services</a:t>
            </a:r>
          </a:p>
        </p:txBody>
      </p:sp>
      <p:graphicFrame>
        <p:nvGraphicFramePr>
          <p:cNvPr id="3" name="Tabel 3">
            <a:extLst>
              <a:ext uri="{FF2B5EF4-FFF2-40B4-BE49-F238E27FC236}">
                <a16:creationId xmlns:a16="http://schemas.microsoft.com/office/drawing/2014/main" id="{93E02346-6A64-E640-BB14-013889E52F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7602552"/>
              </p:ext>
            </p:extLst>
          </p:nvPr>
        </p:nvGraphicFramePr>
        <p:xfrm>
          <a:off x="1890890" y="1929270"/>
          <a:ext cx="8127999" cy="1788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9333">
                  <a:extLst>
                    <a:ext uri="{9D8B030D-6E8A-4147-A177-3AD203B41FA5}">
                      <a16:colId xmlns:a16="http://schemas.microsoft.com/office/drawing/2014/main" val="2733502412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410592633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151944538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Artifact</a:t>
                      </a:r>
                      <a:endParaRPr lang="nl-NL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Part of service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Directives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required</a:t>
                      </a:r>
                      <a:endParaRPr lang="nl-NL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92582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Service provider interfa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expor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46650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Service provi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quires</a:t>
                      </a:r>
                      <a:r>
                        <a:rPr lang="nl-NL" dirty="0"/>
                        <a:t>, </a:t>
                      </a:r>
                      <a:r>
                        <a:rPr lang="nl-NL" dirty="0" err="1"/>
                        <a:t>provides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18515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Service </a:t>
                      </a:r>
                      <a:r>
                        <a:rPr lang="nl-NL" dirty="0" err="1"/>
                        <a:t>locator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exports, </a:t>
                      </a:r>
                      <a:r>
                        <a:rPr lang="nl-NL" dirty="0" err="1"/>
                        <a:t>requires</a:t>
                      </a:r>
                      <a:r>
                        <a:rPr lang="nl-NL" dirty="0"/>
                        <a:t>, </a:t>
                      </a:r>
                      <a:r>
                        <a:rPr lang="nl-NL" dirty="0" err="1"/>
                        <a:t>uses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39813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Consum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quires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6074533"/>
                  </a:ext>
                </a:extLst>
              </a:tr>
            </a:tbl>
          </a:graphicData>
        </a:graphic>
      </p:graphicFrame>
      <p:sp>
        <p:nvSpPr>
          <p:cNvPr id="4" name="Tekstvak 3">
            <a:extLst>
              <a:ext uri="{FF2B5EF4-FFF2-40B4-BE49-F238E27FC236}">
                <a16:creationId xmlns:a16="http://schemas.microsoft.com/office/drawing/2014/main" id="{9DEB678F-5EE7-8F4F-91C5-DCADD2944150}"/>
              </a:ext>
            </a:extLst>
          </p:cNvPr>
          <p:cNvSpPr txBox="1"/>
          <p:nvPr/>
        </p:nvSpPr>
        <p:spPr>
          <a:xfrm>
            <a:off x="1315156" y="4165600"/>
            <a:ext cx="92794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/>
              <a:t>Important </a:t>
            </a:r>
            <a:r>
              <a:rPr lang="nl-NL" dirty="0" err="1"/>
              <a:t>methods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ServiceLoader</a:t>
            </a:r>
            <a:r>
              <a:rPr lang="nl-NL" dirty="0"/>
              <a:t> (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exam</a:t>
            </a:r>
            <a:r>
              <a:rPr lang="nl-NL" dirty="0"/>
              <a:t>):</a:t>
            </a:r>
          </a:p>
          <a:p>
            <a:endParaRPr lang="nl-NL" dirty="0"/>
          </a:p>
          <a:p>
            <a:r>
              <a:rPr lang="nl-NL" dirty="0"/>
              <a:t>	public </a:t>
            </a:r>
            <a:r>
              <a:rPr lang="nl-NL" dirty="0" err="1"/>
              <a:t>static</a:t>
            </a:r>
            <a:r>
              <a:rPr lang="nl-NL" dirty="0"/>
              <a:t> &lt;S&gt; </a:t>
            </a:r>
            <a:r>
              <a:rPr lang="nl-NL" dirty="0" err="1"/>
              <a:t>ServiceLoader</a:t>
            </a:r>
            <a:r>
              <a:rPr lang="nl-NL" dirty="0"/>
              <a:t>&lt;S&gt; load(Class&lt;S&gt; service) { … }</a:t>
            </a:r>
          </a:p>
          <a:p>
            <a:r>
              <a:rPr lang="nl-NL" dirty="0"/>
              <a:t> </a:t>
            </a:r>
          </a:p>
          <a:p>
            <a:r>
              <a:rPr lang="nl-NL" dirty="0"/>
              <a:t>	public Stream&lt;Provider&lt;S&gt;&gt; stream() { … }</a:t>
            </a:r>
          </a:p>
        </p:txBody>
      </p:sp>
    </p:spTree>
    <p:extLst>
      <p:ext uri="{BB962C8B-B14F-4D97-AF65-F5344CB8AC3E}">
        <p14:creationId xmlns:p14="http://schemas.microsoft.com/office/powerpoint/2010/main" val="279236688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699911" y="858868"/>
            <a:ext cx="33415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Example</a:t>
            </a:r>
            <a:r>
              <a:rPr lang="nl-NL" sz="2800" dirty="0"/>
              <a:t> Service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8598193C-C57A-FA4A-8DC3-2EA280DD971B}"/>
              </a:ext>
            </a:extLst>
          </p:cNvPr>
          <p:cNvSpPr txBox="1"/>
          <p:nvPr/>
        </p:nvSpPr>
        <p:spPr>
          <a:xfrm>
            <a:off x="699911" y="1950930"/>
            <a:ext cx="2908151" cy="92333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developer.api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developer.api</a:t>
            </a:r>
            <a:endParaRPr lang="nl-NL" dirty="0">
              <a:solidFill>
                <a:schemeClr val="bg1"/>
              </a:solidFill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C785C47B-8EED-C846-B99F-1B6C33EA6A50}"/>
              </a:ext>
            </a:extLst>
          </p:cNvPr>
          <p:cNvSpPr txBox="1"/>
          <p:nvPr/>
        </p:nvSpPr>
        <p:spPr>
          <a:xfrm>
            <a:off x="6070411" y="1950930"/>
            <a:ext cx="4036155" cy="1477328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developer.pool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developer.pool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transitive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api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us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api.Developer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1AEA0549-2428-6645-8BFD-9D974BCF57F4}"/>
              </a:ext>
            </a:extLst>
          </p:cNvPr>
          <p:cNvSpPr txBox="1"/>
          <p:nvPr/>
        </p:nvSpPr>
        <p:spPr>
          <a:xfrm>
            <a:off x="4549422" y="4294738"/>
            <a:ext cx="7078134" cy="1477328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developer.hipo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api</a:t>
            </a:r>
            <a:br>
              <a:rPr lang="nl-NL" dirty="0">
                <a:solidFill>
                  <a:schemeClr val="bg1"/>
                </a:solidFill>
              </a:rPr>
            </a:b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provid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api.Developer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with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hipo.ProDev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65E29E0D-603A-134E-8A7D-BED31CB14221}"/>
              </a:ext>
            </a:extLst>
          </p:cNvPr>
          <p:cNvSpPr txBox="1"/>
          <p:nvPr/>
        </p:nvSpPr>
        <p:spPr>
          <a:xfrm>
            <a:off x="699911" y="3899351"/>
            <a:ext cx="3172177" cy="1754326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company</a:t>
            </a: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company;</a:t>
            </a:r>
            <a:br>
              <a:rPr lang="nl-NL" dirty="0">
                <a:solidFill>
                  <a:schemeClr val="bg1"/>
                </a:solidFill>
              </a:rPr>
            </a:b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pool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endParaRPr lang="nl-NL" dirty="0">
              <a:solidFill>
                <a:schemeClr val="bg1"/>
              </a:solidFill>
            </a:endParaRPr>
          </a:p>
        </p:txBody>
      </p:sp>
      <p:cxnSp>
        <p:nvCxnSpPr>
          <p:cNvPr id="9" name="Rechte verbindingslijn met pijl 8">
            <a:extLst>
              <a:ext uri="{FF2B5EF4-FFF2-40B4-BE49-F238E27FC236}">
                <a16:creationId xmlns:a16="http://schemas.microsoft.com/office/drawing/2014/main" id="{B5927DC6-42D1-4F46-94C7-FA5B7650B06F}"/>
              </a:ext>
            </a:extLst>
          </p:cNvPr>
          <p:cNvCxnSpPr/>
          <p:nvPr/>
        </p:nvCxnSpPr>
        <p:spPr bwMode="auto">
          <a:xfrm flipH="1">
            <a:off x="3646311" y="2472267"/>
            <a:ext cx="2424100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Rechte verbindingslijn met pijl 10">
            <a:extLst>
              <a:ext uri="{FF2B5EF4-FFF2-40B4-BE49-F238E27FC236}">
                <a16:creationId xmlns:a16="http://schemas.microsoft.com/office/drawing/2014/main" id="{774D6205-EFCA-A043-ADAA-D5C178C65835}"/>
              </a:ext>
            </a:extLst>
          </p:cNvPr>
          <p:cNvCxnSpPr/>
          <p:nvPr/>
        </p:nvCxnSpPr>
        <p:spPr bwMode="auto">
          <a:xfrm flipV="1">
            <a:off x="1715911" y="2874260"/>
            <a:ext cx="0" cy="1025091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Rechte verbindingslijn met pijl 14">
            <a:extLst>
              <a:ext uri="{FF2B5EF4-FFF2-40B4-BE49-F238E27FC236}">
                <a16:creationId xmlns:a16="http://schemas.microsoft.com/office/drawing/2014/main" id="{DD83C829-26B6-9D4E-8A16-F2FA397816F1}"/>
              </a:ext>
            </a:extLst>
          </p:cNvPr>
          <p:cNvCxnSpPr/>
          <p:nvPr/>
        </p:nvCxnSpPr>
        <p:spPr bwMode="auto">
          <a:xfrm flipV="1">
            <a:off x="2856089" y="2874260"/>
            <a:ext cx="3214322" cy="1025091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Rechte verbindingslijn met pijl 16">
            <a:extLst>
              <a:ext uri="{FF2B5EF4-FFF2-40B4-BE49-F238E27FC236}">
                <a16:creationId xmlns:a16="http://schemas.microsoft.com/office/drawing/2014/main" id="{E643E509-C8A8-D046-8D3C-1EF7A0A6907B}"/>
              </a:ext>
            </a:extLst>
          </p:cNvPr>
          <p:cNvCxnSpPr>
            <a:cxnSpLocks/>
          </p:cNvCxnSpPr>
          <p:nvPr/>
        </p:nvCxnSpPr>
        <p:spPr bwMode="auto">
          <a:xfrm>
            <a:off x="7247467" y="3428258"/>
            <a:ext cx="0" cy="86648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Rechte verbindingslijn met pijl 18">
            <a:extLst>
              <a:ext uri="{FF2B5EF4-FFF2-40B4-BE49-F238E27FC236}">
                <a16:creationId xmlns:a16="http://schemas.microsoft.com/office/drawing/2014/main" id="{A961727E-D1B3-AA4E-A8B7-7500FB18CE22}"/>
              </a:ext>
            </a:extLst>
          </p:cNvPr>
          <p:cNvCxnSpPr/>
          <p:nvPr/>
        </p:nvCxnSpPr>
        <p:spPr bwMode="auto">
          <a:xfrm flipH="1" flipV="1">
            <a:off x="3420533" y="2874260"/>
            <a:ext cx="1128889" cy="1336496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1" name="Inkt 20">
                <a:extLst>
                  <a:ext uri="{FF2B5EF4-FFF2-40B4-BE49-F238E27FC236}">
                    <a16:creationId xmlns:a16="http://schemas.microsoft.com/office/drawing/2014/main" id="{F816D78B-3850-A742-BDEA-E8BF6C4BFC5F}"/>
                  </a:ext>
                </a:extLst>
              </p14:cNvPr>
              <p14:cNvContentPartPr/>
              <p14:nvPr/>
            </p14:nvContentPartPr>
            <p14:xfrm>
              <a:off x="354973" y="1362924"/>
              <a:ext cx="10812600" cy="2473200"/>
            </p14:xfrm>
          </p:contentPart>
        </mc:Choice>
        <mc:Fallback xmlns="">
          <p:pic>
            <p:nvPicPr>
              <p:cNvPr id="21" name="Inkt 20">
                <a:extLst>
                  <a:ext uri="{FF2B5EF4-FFF2-40B4-BE49-F238E27FC236}">
                    <a16:creationId xmlns:a16="http://schemas.microsoft.com/office/drawing/2014/main" id="{F816D78B-3850-A742-BDEA-E8BF6C4BFC5F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91973" y="1300284"/>
                <a:ext cx="10938240" cy="2598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29" name="Inkt 28">
                <a:extLst>
                  <a:ext uri="{FF2B5EF4-FFF2-40B4-BE49-F238E27FC236}">
                    <a16:creationId xmlns:a16="http://schemas.microsoft.com/office/drawing/2014/main" id="{127C6D91-A72E-0947-8672-FE0D1F3D86F6}"/>
                  </a:ext>
                </a:extLst>
              </p14:cNvPr>
              <p14:cNvContentPartPr/>
              <p14:nvPr/>
            </p14:nvContentPartPr>
            <p14:xfrm>
              <a:off x="4408573" y="3837924"/>
              <a:ext cx="7428240" cy="2443320"/>
            </p14:xfrm>
          </p:contentPart>
        </mc:Choice>
        <mc:Fallback xmlns="">
          <p:pic>
            <p:nvPicPr>
              <p:cNvPr id="29" name="Inkt 28">
                <a:extLst>
                  <a:ext uri="{FF2B5EF4-FFF2-40B4-BE49-F238E27FC236}">
                    <a16:creationId xmlns:a16="http://schemas.microsoft.com/office/drawing/2014/main" id="{127C6D91-A72E-0947-8672-FE0D1F3D86F6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345933" y="3774924"/>
                <a:ext cx="7553880" cy="2568960"/>
              </a:xfrm>
              <a:prstGeom prst="rect">
                <a:avLst/>
              </a:prstGeom>
            </p:spPr>
          </p:pic>
        </mc:Fallback>
      </mc:AlternateContent>
      <p:sp>
        <p:nvSpPr>
          <p:cNvPr id="30" name="Tekstvak 29">
            <a:extLst>
              <a:ext uri="{FF2B5EF4-FFF2-40B4-BE49-F238E27FC236}">
                <a16:creationId xmlns:a16="http://schemas.microsoft.com/office/drawing/2014/main" id="{209F4007-54DA-CB4F-9AAE-14B1123ED48C}"/>
              </a:ext>
            </a:extLst>
          </p:cNvPr>
          <p:cNvSpPr txBox="1"/>
          <p:nvPr/>
        </p:nvSpPr>
        <p:spPr>
          <a:xfrm>
            <a:off x="7089421" y="1012356"/>
            <a:ext cx="13546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/>
              <a:t>Service</a:t>
            </a:r>
          </a:p>
        </p:txBody>
      </p:sp>
      <p:sp>
        <p:nvSpPr>
          <p:cNvPr id="31" name="Tekstvak 30">
            <a:extLst>
              <a:ext uri="{FF2B5EF4-FFF2-40B4-BE49-F238E27FC236}">
                <a16:creationId xmlns:a16="http://schemas.microsoft.com/office/drawing/2014/main" id="{8A8B42D5-92F3-2F4A-A03C-3C881635E41D}"/>
              </a:ext>
            </a:extLst>
          </p:cNvPr>
          <p:cNvSpPr txBox="1"/>
          <p:nvPr/>
        </p:nvSpPr>
        <p:spPr>
          <a:xfrm>
            <a:off x="7394222" y="6249312"/>
            <a:ext cx="20824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err="1"/>
              <a:t>Implementatio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3437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7" grpId="0" animBg="1"/>
      <p:bldP spid="8" grpId="0" animBg="1"/>
      <p:bldP spid="30" grpId="0"/>
      <p:bldP spid="31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</a:rPr>
              <a:t>Java Modules General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Very</a:t>
            </a:r>
            <a:r>
              <a:rPr lang="nl-NL" sz="2800" dirty="0"/>
              <a:t> </a:t>
            </a:r>
            <a:r>
              <a:rPr lang="nl-NL" sz="2800" dirty="0" err="1"/>
              <a:t>interesting</a:t>
            </a:r>
            <a:r>
              <a:rPr lang="nl-NL" sz="2800" dirty="0"/>
              <a:t> </a:t>
            </a:r>
            <a:r>
              <a:rPr lang="nl-NL" sz="2800" dirty="0" err="1"/>
              <a:t>read</a:t>
            </a:r>
            <a:r>
              <a:rPr lang="nl-NL" sz="2800" dirty="0"/>
              <a:t> (</a:t>
            </a:r>
            <a:r>
              <a:rPr lang="nl-NL" sz="2800" dirty="0" err="1"/>
              <a:t>you’ll</a:t>
            </a:r>
            <a:r>
              <a:rPr lang="nl-NL" sz="2800" dirty="0"/>
              <a:t> </a:t>
            </a:r>
            <a:r>
              <a:rPr lang="nl-NL" sz="2800" dirty="0" err="1"/>
              <a:t>learn</a:t>
            </a:r>
            <a:r>
              <a:rPr lang="nl-NL" sz="2800" dirty="0"/>
              <a:t> a lot more </a:t>
            </a:r>
            <a:r>
              <a:rPr lang="nl-NL" sz="2800" dirty="0" err="1"/>
              <a:t>about</a:t>
            </a:r>
            <a:r>
              <a:rPr lang="nl-NL" sz="2800" dirty="0"/>
              <a:t> modules </a:t>
            </a:r>
            <a:r>
              <a:rPr lang="nl-NL" sz="2800" dirty="0" err="1"/>
              <a:t>than</a:t>
            </a:r>
            <a:r>
              <a:rPr lang="nl-NL" sz="2800" dirty="0"/>
              <a:t>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 OCP </a:t>
            </a:r>
            <a:r>
              <a:rPr lang="nl-NL" sz="2800" dirty="0" err="1"/>
              <a:t>exam</a:t>
            </a:r>
            <a:r>
              <a:rPr lang="nl-NL" sz="2800" dirty="0"/>
              <a:t>):</a:t>
            </a:r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Java 9 </a:t>
            </a:r>
            <a:r>
              <a:rPr lang="nl-NL" sz="2800" dirty="0" err="1"/>
              <a:t>Modularity</a:t>
            </a:r>
            <a:r>
              <a:rPr lang="nl-NL" sz="2800" dirty="0"/>
              <a:t>, </a:t>
            </a:r>
            <a:r>
              <a:rPr lang="nl-NL" sz="2800" dirty="0" err="1"/>
              <a:t>O’Reilly</a:t>
            </a:r>
            <a:r>
              <a:rPr lang="nl-NL" sz="2800" dirty="0"/>
              <a:t>, </a:t>
            </a:r>
            <a:r>
              <a:rPr lang="nl-NL" sz="2800" dirty="0" err="1"/>
              <a:t>by</a:t>
            </a:r>
            <a:r>
              <a:rPr lang="nl-NL" sz="2800" dirty="0"/>
              <a:t> Sander Mak </a:t>
            </a:r>
            <a:r>
              <a:rPr lang="nl-NL" sz="2800" dirty="0" err="1"/>
              <a:t>and</a:t>
            </a:r>
            <a:r>
              <a:rPr lang="nl-NL" sz="2800" dirty="0"/>
              <a:t> Paul Bakk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BBFDD15E-C475-DB4D-A2E4-886799657E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193" y="3265382"/>
            <a:ext cx="2143613" cy="2796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6352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04" y="44624"/>
            <a:ext cx="11883392" cy="591489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</a:rPr>
              <a:t>Done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0" name="AutoShape 7" descr="Afbeeldingsresultaat voor jir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21" name="AutoShape 16" descr="Afbeeldingsresultaat voor splunk log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22" name="AutoShape 18" descr="Afbeeldingsresultaat voor splunk logo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AutoShape 2" descr="Afbeeldingsresultaat voor compuware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AutoShape 4" descr="Afbeeldingsresultaat voor compuware"/>
          <p:cNvSpPr>
            <a:spLocks noChangeAspect="1" noChangeArrowheads="1"/>
          </p:cNvSpPr>
          <p:nvPr/>
        </p:nvSpPr>
        <p:spPr bwMode="auto">
          <a:xfrm>
            <a:off x="765175" y="82517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AA0822-706F-4E78-8DCB-B314DD8EB06E}"/>
              </a:ext>
            </a:extLst>
          </p:cNvPr>
          <p:cNvSpPr txBox="1"/>
          <p:nvPr/>
        </p:nvSpPr>
        <p:spPr>
          <a:xfrm>
            <a:off x="765175" y="2657026"/>
            <a:ext cx="102076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800" b="1" dirty="0" err="1"/>
              <a:t>Questions</a:t>
            </a:r>
            <a:r>
              <a:rPr lang="nl-NL" sz="2800" b="1" dirty="0"/>
              <a:t>?</a:t>
            </a:r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1967829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1520785"/>
            <a:ext cx="901043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Review </a:t>
            </a:r>
            <a:r>
              <a:rPr lang="nl-NL" sz="2800" dirty="0" err="1"/>
              <a:t>keyword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module-info file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exports &lt;package name&gt;: </a:t>
            </a:r>
            <a:r>
              <a:rPr lang="nl-NL" sz="2800" dirty="0" err="1"/>
              <a:t>exposes</a:t>
            </a:r>
            <a:r>
              <a:rPr lang="nl-NL" sz="2800" dirty="0"/>
              <a:t> a </a:t>
            </a:r>
            <a:r>
              <a:rPr lang="nl-NL" sz="2800" i="1" dirty="0"/>
              <a:t>package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modules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exports &lt;package name&gt; </a:t>
            </a:r>
            <a:r>
              <a:rPr lang="nl-NL" sz="2800" dirty="0" err="1"/>
              <a:t>to</a:t>
            </a:r>
            <a:r>
              <a:rPr lang="nl-NL" sz="2800" dirty="0"/>
              <a:t> &lt;module&gt;: </a:t>
            </a:r>
            <a:r>
              <a:rPr lang="nl-NL" sz="2800" dirty="0" err="1"/>
              <a:t>exposes</a:t>
            </a:r>
            <a:r>
              <a:rPr lang="nl-NL" sz="2800" dirty="0"/>
              <a:t> a </a:t>
            </a:r>
            <a:r>
              <a:rPr lang="nl-NL" sz="2800" i="1" dirty="0"/>
              <a:t>package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a </a:t>
            </a:r>
            <a:r>
              <a:rPr lang="nl-NL" sz="2800" dirty="0" err="1"/>
              <a:t>specific</a:t>
            </a:r>
            <a:r>
              <a:rPr lang="nl-NL" sz="2800" dirty="0"/>
              <a:t> module </a:t>
            </a:r>
            <a:r>
              <a:rPr lang="nl-NL" sz="2800" dirty="0" err="1"/>
              <a:t>only</a:t>
            </a:r>
            <a:r>
              <a:rPr lang="nl-NL" sz="2800" dirty="0"/>
              <a:t> 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requires</a:t>
            </a:r>
            <a:r>
              <a:rPr lang="nl-NL" sz="2800" dirty="0"/>
              <a:t> [</a:t>
            </a:r>
            <a:r>
              <a:rPr lang="nl-NL" sz="2800" dirty="0" err="1"/>
              <a:t>transitive</a:t>
            </a:r>
            <a:r>
              <a:rPr lang="nl-NL" sz="2800" dirty="0"/>
              <a:t>] &lt;module name&gt;: </a:t>
            </a:r>
            <a:r>
              <a:rPr lang="nl-NL" sz="2800" dirty="0" err="1"/>
              <a:t>adds</a:t>
            </a:r>
            <a:r>
              <a:rPr lang="nl-NL" sz="2800" dirty="0"/>
              <a:t> a </a:t>
            </a:r>
            <a:r>
              <a:rPr lang="nl-NL" sz="2800" dirty="0" err="1"/>
              <a:t>dependency</a:t>
            </a:r>
            <a:r>
              <a:rPr lang="nl-NL" sz="2800" dirty="0"/>
              <a:t> </a:t>
            </a:r>
            <a:r>
              <a:rPr lang="nl-NL" sz="2800" dirty="0" err="1"/>
              <a:t>upon</a:t>
            </a:r>
            <a:r>
              <a:rPr lang="nl-NL" sz="2800" dirty="0"/>
              <a:t> </a:t>
            </a:r>
            <a:r>
              <a:rPr lang="nl-NL" sz="2800" dirty="0" err="1"/>
              <a:t>another</a:t>
            </a:r>
            <a:r>
              <a:rPr lang="nl-NL" sz="2800" dirty="0"/>
              <a:t> </a:t>
            </a:r>
            <a:r>
              <a:rPr lang="nl-NL" sz="2800" i="1" dirty="0"/>
              <a:t>module</a:t>
            </a:r>
          </a:p>
        </p:txBody>
      </p:sp>
    </p:spTree>
    <p:extLst>
      <p:ext uri="{BB962C8B-B14F-4D97-AF65-F5344CB8AC3E}">
        <p14:creationId xmlns:p14="http://schemas.microsoft.com/office/powerpoint/2010/main" val="25927906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1335004"/>
            <a:ext cx="9010436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Review </a:t>
            </a:r>
            <a:r>
              <a:rPr lang="nl-NL" sz="2800" dirty="0" err="1"/>
              <a:t>keyword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module-info file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provides</a:t>
            </a:r>
            <a:r>
              <a:rPr lang="nl-NL" sz="2800" dirty="0"/>
              <a:t> &lt;interface&gt; </a:t>
            </a:r>
            <a:r>
              <a:rPr lang="nl-NL" sz="2800" dirty="0" err="1"/>
              <a:t>with</a:t>
            </a:r>
            <a:r>
              <a:rPr lang="nl-NL" sz="2800" dirty="0"/>
              <a:t> &lt;</a:t>
            </a:r>
            <a:r>
              <a:rPr lang="nl-NL" sz="2800" dirty="0" err="1"/>
              <a:t>implementation</a:t>
            </a:r>
            <a:r>
              <a:rPr lang="nl-NL" sz="2800" dirty="0"/>
              <a:t>&gt; : </a:t>
            </a:r>
            <a:r>
              <a:rPr lang="nl-NL" sz="2800" dirty="0" err="1"/>
              <a:t>specifies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a class </a:t>
            </a:r>
            <a:r>
              <a:rPr lang="nl-NL" sz="2800" dirty="0" err="1"/>
              <a:t>provides</a:t>
            </a:r>
            <a:r>
              <a:rPr lang="nl-NL" sz="2800" dirty="0"/>
              <a:t> </a:t>
            </a:r>
            <a:r>
              <a:rPr lang="nl-NL" sz="2800" dirty="0" err="1"/>
              <a:t>an</a:t>
            </a:r>
            <a:r>
              <a:rPr lang="nl-NL" sz="2800" dirty="0"/>
              <a:t> </a:t>
            </a:r>
            <a:r>
              <a:rPr lang="nl-NL" sz="2800" dirty="0" err="1"/>
              <a:t>implementation</a:t>
            </a:r>
            <a:r>
              <a:rPr lang="nl-NL" sz="2800" dirty="0"/>
              <a:t> of a service interfa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uses</a:t>
            </a:r>
            <a:r>
              <a:rPr lang="nl-NL" sz="2800" dirty="0"/>
              <a:t> &lt;interface&gt;: </a:t>
            </a:r>
            <a:r>
              <a:rPr lang="nl-NL" sz="2800" dirty="0" err="1"/>
              <a:t>specifies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a module is </a:t>
            </a:r>
            <a:r>
              <a:rPr lang="nl-NL" sz="2800" dirty="0" err="1"/>
              <a:t>relying</a:t>
            </a:r>
            <a:r>
              <a:rPr lang="nl-NL" sz="2800" dirty="0"/>
              <a:t> on a servi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opens</a:t>
            </a:r>
            <a:r>
              <a:rPr lang="nl-NL" sz="2800" dirty="0"/>
              <a:t> : </a:t>
            </a:r>
            <a:r>
              <a:rPr lang="nl-NL" sz="2800" dirty="0" err="1"/>
              <a:t>opens</a:t>
            </a:r>
            <a:r>
              <a:rPr lang="nl-NL" sz="2800" dirty="0"/>
              <a:t> a package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reflection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320006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Module types</a:t>
            </a:r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Named</a:t>
            </a:r>
            <a:r>
              <a:rPr lang="nl-NL" sz="2800" dirty="0"/>
              <a:t> module : a (proper) </a:t>
            </a:r>
            <a:r>
              <a:rPr lang="nl-NL" sz="2800" dirty="0" err="1"/>
              <a:t>java</a:t>
            </a:r>
            <a:r>
              <a:rPr lang="nl-NL" sz="2800" dirty="0"/>
              <a:t> modu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Automatic module : a </a:t>
            </a: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r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Unnamed</a:t>
            </a:r>
            <a:r>
              <a:rPr lang="nl-NL" sz="2800" dirty="0"/>
              <a:t> module : a </a:t>
            </a: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r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class </a:t>
            </a:r>
            <a:r>
              <a:rPr lang="nl-NL" sz="2800" dirty="0" err="1"/>
              <a:t>path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04556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Named</a:t>
            </a:r>
            <a:r>
              <a:rPr lang="nl-NL" sz="2800" dirty="0"/>
              <a:t> module</a:t>
            </a:r>
          </a:p>
          <a:p>
            <a:endParaRPr lang="nl-NL" sz="2800" dirty="0"/>
          </a:p>
          <a:p>
            <a:r>
              <a:rPr lang="nl-NL" sz="2800" dirty="0"/>
              <a:t>A (proper) </a:t>
            </a:r>
            <a:r>
              <a:rPr lang="nl-NL" sz="2800" dirty="0" err="1"/>
              <a:t>java</a:t>
            </a:r>
            <a:r>
              <a:rPr lang="nl-NL" sz="2800" dirty="0"/>
              <a:t> module, </a:t>
            </a:r>
            <a:r>
              <a:rPr lang="nl-NL" sz="2800" dirty="0" err="1"/>
              <a:t>with</a:t>
            </a:r>
            <a:r>
              <a:rPr lang="nl-NL" sz="2800" dirty="0"/>
              <a:t> module-info file </a:t>
            </a:r>
            <a:r>
              <a:rPr lang="nl-NL" sz="2800" dirty="0" err="1"/>
              <a:t>deployed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r>
              <a:rPr lang="nl-NL" sz="2800" dirty="0"/>
              <a:t>.</a:t>
            </a:r>
          </a:p>
          <a:p>
            <a:endParaRPr lang="nl-NL" sz="2800" dirty="0"/>
          </a:p>
          <a:p>
            <a:r>
              <a:rPr lang="nl-NL" sz="2800" dirty="0"/>
              <a:t>Module name is in </a:t>
            </a:r>
            <a:r>
              <a:rPr lang="nl-NL" sz="2800" dirty="0" err="1"/>
              <a:t>the</a:t>
            </a:r>
            <a:r>
              <a:rPr lang="nl-NL" sz="2800" dirty="0"/>
              <a:t> module-info fil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40543765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Automatic module</a:t>
            </a:r>
          </a:p>
          <a:p>
            <a:endParaRPr lang="nl-NL" sz="2800" dirty="0"/>
          </a:p>
          <a:p>
            <a:r>
              <a:rPr lang="nl-NL" sz="2800" dirty="0"/>
              <a:t>A </a:t>
            </a: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r</a:t>
            </a:r>
            <a:r>
              <a:rPr lang="nl-NL" sz="2800" dirty="0"/>
              <a:t> – no module-info file – </a:t>
            </a:r>
            <a:r>
              <a:rPr lang="nl-NL" sz="2800" dirty="0" err="1"/>
              <a:t>that</a:t>
            </a:r>
            <a:r>
              <a:rPr lang="nl-NL" sz="2800" dirty="0"/>
              <a:t> </a:t>
            </a:r>
            <a:r>
              <a:rPr lang="nl-NL" sz="2800" dirty="0" err="1"/>
              <a:t>gets</a:t>
            </a:r>
            <a:r>
              <a:rPr lang="nl-NL" sz="2800" dirty="0"/>
              <a:t> </a:t>
            </a:r>
            <a:r>
              <a:rPr lang="nl-NL" sz="2800" dirty="0" err="1"/>
              <a:t>deployed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r>
              <a:rPr lang="nl-NL" sz="2800" dirty="0"/>
              <a:t>.</a:t>
            </a:r>
          </a:p>
          <a:p>
            <a:endParaRPr lang="nl-NL" sz="2800" dirty="0"/>
          </a:p>
          <a:p>
            <a:pPr marL="457200" indent="-457200">
              <a:buFontTx/>
              <a:buChar char="-"/>
            </a:pPr>
            <a:r>
              <a:rPr lang="nl-NL" sz="2800" dirty="0" err="1"/>
              <a:t>Treated</a:t>
            </a:r>
            <a:r>
              <a:rPr lang="nl-NL" sz="2800" dirty="0"/>
              <a:t> as </a:t>
            </a:r>
            <a:r>
              <a:rPr lang="nl-NL" sz="2800" dirty="0" err="1"/>
              <a:t>if</a:t>
            </a:r>
            <a:r>
              <a:rPr lang="nl-NL" sz="2800" dirty="0"/>
              <a:t> </a:t>
            </a:r>
            <a:r>
              <a:rPr lang="nl-NL" sz="2800" dirty="0" err="1"/>
              <a:t>there</a:t>
            </a:r>
            <a:r>
              <a:rPr lang="nl-NL" sz="2800" dirty="0"/>
              <a:t> was a module-info file</a:t>
            </a:r>
          </a:p>
          <a:p>
            <a:pPr marL="457200" indent="-457200">
              <a:buFontTx/>
              <a:buChar char="-"/>
            </a:pPr>
            <a:r>
              <a:rPr lang="nl-NL" sz="2800" dirty="0"/>
              <a:t>Module name </a:t>
            </a:r>
            <a:r>
              <a:rPr lang="nl-NL" sz="2800" dirty="0" err="1"/>
              <a:t>will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</a:t>
            </a:r>
            <a:r>
              <a:rPr lang="nl-NL" sz="2800" dirty="0" err="1"/>
              <a:t>determined</a:t>
            </a:r>
            <a:r>
              <a:rPr lang="nl-NL" sz="2800" dirty="0"/>
              <a:t> bij </a:t>
            </a:r>
            <a:r>
              <a:rPr lang="nl-NL" sz="2800" dirty="0" err="1"/>
              <a:t>the</a:t>
            </a:r>
            <a:r>
              <a:rPr lang="nl-NL" sz="2800" dirty="0"/>
              <a:t> JVM.</a:t>
            </a:r>
          </a:p>
          <a:p>
            <a:pPr marL="457200" indent="-457200">
              <a:buFontTx/>
              <a:buChar char="-"/>
            </a:pPr>
            <a:r>
              <a:rPr lang="nl-NL" sz="2800" b="1" dirty="0" err="1"/>
              <a:t>All</a:t>
            </a:r>
            <a:r>
              <a:rPr lang="nl-NL" sz="2800" dirty="0"/>
              <a:t> packages are </a:t>
            </a:r>
            <a:r>
              <a:rPr lang="nl-NL" sz="2800" dirty="0" err="1"/>
              <a:t>exported</a:t>
            </a:r>
            <a:r>
              <a:rPr lang="nl-NL" sz="2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355429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Unnamed</a:t>
            </a:r>
            <a:r>
              <a:rPr lang="nl-NL" sz="2800" dirty="0"/>
              <a:t> module</a:t>
            </a:r>
          </a:p>
          <a:p>
            <a:endParaRPr lang="nl-NL" sz="2800" dirty="0"/>
          </a:p>
          <a:p>
            <a:r>
              <a:rPr lang="nl-NL" sz="2800" dirty="0"/>
              <a:t>A </a:t>
            </a: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r</a:t>
            </a:r>
            <a:r>
              <a:rPr lang="nl-NL" sz="2800" dirty="0"/>
              <a:t> without a module-info file </a:t>
            </a:r>
            <a:r>
              <a:rPr lang="nl-NL" sz="2800" dirty="0" err="1"/>
              <a:t>and</a:t>
            </a:r>
            <a:r>
              <a:rPr lang="nl-NL" sz="2800" dirty="0"/>
              <a:t> </a:t>
            </a:r>
            <a:r>
              <a:rPr lang="nl-NL" sz="2800" dirty="0" err="1"/>
              <a:t>placed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class </a:t>
            </a:r>
            <a:r>
              <a:rPr lang="nl-NL" sz="2800" dirty="0" err="1"/>
              <a:t>path</a:t>
            </a:r>
            <a:r>
              <a:rPr lang="nl-NL" sz="2800" dirty="0"/>
              <a:t>.</a:t>
            </a:r>
          </a:p>
          <a:p>
            <a:endParaRPr lang="nl-NL" sz="2800" dirty="0"/>
          </a:p>
          <a:p>
            <a:r>
              <a:rPr lang="nl-NL" sz="2800" dirty="0"/>
              <a:t>- It </a:t>
            </a:r>
            <a:r>
              <a:rPr lang="nl-NL" sz="2800" dirty="0" err="1"/>
              <a:t>doesn't</a:t>
            </a:r>
            <a:r>
              <a:rPr lang="nl-NL" sz="2800" dirty="0"/>
              <a:t> export </a:t>
            </a:r>
            <a:r>
              <a:rPr lang="nl-NL" sz="2800" dirty="0" err="1"/>
              <a:t>any</a:t>
            </a:r>
            <a:r>
              <a:rPr lang="nl-NL" sz="2800" dirty="0"/>
              <a:t> packages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named</a:t>
            </a:r>
            <a:r>
              <a:rPr lang="nl-NL" sz="2800" dirty="0"/>
              <a:t>/automatic modules.</a:t>
            </a:r>
          </a:p>
          <a:p>
            <a:r>
              <a:rPr lang="nl-NL" sz="2800" dirty="0"/>
              <a:t>- It </a:t>
            </a:r>
            <a:r>
              <a:rPr lang="nl-NL" sz="2800" dirty="0" err="1"/>
              <a:t>reads</a:t>
            </a:r>
            <a:r>
              <a:rPr lang="nl-NL" sz="2800" dirty="0"/>
              <a:t> </a:t>
            </a:r>
            <a:r>
              <a:rPr lang="nl-NL" sz="2800" dirty="0" err="1"/>
              <a:t>from</a:t>
            </a:r>
            <a:r>
              <a:rPr lang="nl-NL" sz="2800" dirty="0"/>
              <a:t> </a:t>
            </a:r>
            <a:r>
              <a:rPr lang="nl-NL" sz="2800" dirty="0" err="1"/>
              <a:t>any</a:t>
            </a:r>
            <a:r>
              <a:rPr lang="nl-NL" sz="2800" dirty="0"/>
              <a:t> JAR on </a:t>
            </a:r>
            <a:r>
              <a:rPr lang="nl-NL" sz="2800" dirty="0" err="1"/>
              <a:t>the</a:t>
            </a:r>
            <a:r>
              <a:rPr lang="nl-NL" sz="2800" dirty="0"/>
              <a:t> class AND module </a:t>
            </a:r>
            <a:r>
              <a:rPr lang="nl-NL" sz="2800" dirty="0" err="1"/>
              <a:t>path</a:t>
            </a:r>
            <a:r>
              <a:rPr lang="nl-NL" sz="2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738931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hat</a:t>
            </a:r>
            <a:r>
              <a:rPr lang="nl-NL" sz="2800" dirty="0"/>
              <a:t> </a:t>
            </a:r>
            <a:r>
              <a:rPr lang="nl-NL" sz="2800" dirty="0" err="1"/>
              <a:t>happens</a:t>
            </a:r>
            <a:r>
              <a:rPr lang="nl-NL" sz="2800" dirty="0"/>
              <a:t> </a:t>
            </a:r>
            <a:r>
              <a:rPr lang="nl-NL" sz="2800" dirty="0" err="1"/>
              <a:t>if</a:t>
            </a:r>
            <a:r>
              <a:rPr lang="nl-NL" sz="2800" dirty="0"/>
              <a:t> </a:t>
            </a:r>
            <a:r>
              <a:rPr lang="nl-NL" sz="2800" dirty="0" err="1"/>
              <a:t>an</a:t>
            </a:r>
            <a:r>
              <a:rPr lang="nl-NL" sz="2800" dirty="0"/>
              <a:t> </a:t>
            </a:r>
            <a:r>
              <a:rPr lang="nl-NL" sz="2800" dirty="0" err="1"/>
              <a:t>unnamed</a:t>
            </a:r>
            <a:r>
              <a:rPr lang="nl-NL" sz="2800" dirty="0"/>
              <a:t> module has a module-info file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429000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It </a:t>
            </a:r>
            <a:r>
              <a:rPr lang="nl-NL" sz="2800" dirty="0" err="1"/>
              <a:t>will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</a:t>
            </a:r>
            <a:r>
              <a:rPr lang="nl-NL" sz="2800" dirty="0" err="1"/>
              <a:t>ignored</a:t>
            </a:r>
            <a:r>
              <a:rPr lang="nl-NL" sz="2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39550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heme/theme1.xml><?xml version="1.0" encoding="utf-8"?>
<a:theme xmlns:a="http://schemas.openxmlformats.org/drawingml/2006/main" name="1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6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9_PRINT Presentatie">
  <a:themeElements>
    <a:clrScheme name="ABN AMRO">
      <a:dk1>
        <a:sysClr val="windowText" lastClr="000000"/>
      </a:dk1>
      <a:lt1>
        <a:sysClr val="window" lastClr="FFFFFF"/>
      </a:lt1>
      <a:dk2>
        <a:srgbClr val="BBBEC3"/>
      </a:dk2>
      <a:lt2>
        <a:srgbClr val="54646C"/>
      </a:lt2>
      <a:accent1>
        <a:srgbClr val="005E5D"/>
      </a:accent1>
      <a:accent2>
        <a:srgbClr val="009286"/>
      </a:accent2>
      <a:accent3>
        <a:srgbClr val="55CBB7"/>
      </a:accent3>
      <a:accent4>
        <a:srgbClr val="006480"/>
      </a:accent4>
      <a:accent5>
        <a:srgbClr val="43ACC5"/>
      </a:accent5>
      <a:accent6>
        <a:srgbClr val="94C23C"/>
      </a:accent6>
      <a:hlink>
        <a:srgbClr val="004C4C"/>
      </a:hlink>
      <a:folHlink>
        <a:srgbClr val="009286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90000" tIns="54000" rIns="54000" bIns="72000" rtlCol="0">
        <a:spAutoFit/>
      </a:bodyPr>
      <a:lstStyle>
        <a:defPPr marL="273050" indent="-273050">
          <a:defRPr sz="1400" dirty="0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JW slide master">
  <a:themeElements>
    <a:clrScheme name="JW">
      <a:dk1>
        <a:srgbClr val="54575A"/>
      </a:dk1>
      <a:lt1>
        <a:srgbClr val="FFFFFF"/>
      </a:lt1>
      <a:dk2>
        <a:srgbClr val="006197"/>
      </a:dk2>
      <a:lt2>
        <a:srgbClr val="EEECE1"/>
      </a:lt2>
      <a:accent1>
        <a:srgbClr val="00ADBC"/>
      </a:accent1>
      <a:accent2>
        <a:srgbClr val="C36D16"/>
      </a:accent2>
      <a:accent3>
        <a:srgbClr val="CB3725"/>
      </a:accent3>
      <a:accent4>
        <a:srgbClr val="008D96"/>
      </a:accent4>
      <a:accent5>
        <a:srgbClr val="2C9A42"/>
      </a:accent5>
      <a:accent6>
        <a:srgbClr val="54575A"/>
      </a:accent6>
      <a:hlink>
        <a:srgbClr val="006197"/>
      </a:hlink>
      <a:folHlink>
        <a:srgbClr val="00ADBC"/>
      </a:folHlink>
    </a:clrScheme>
    <a:fontScheme name="Trebuchet MS">
      <a:majorFont>
        <a:latin typeface="Trebuchet MS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enkins_World_4x3" id="{E5B1196E-51F2-D84C-9DC6-0F1AE4F309D5}" vid="{1923CFBD-7FE2-B546-A682-72FD9131EDD4}"/>
    </a:ext>
  </a:extLst>
</a:theme>
</file>

<file path=ppt/theme/theme7.xml><?xml version="1.0" encoding="utf-8"?>
<a:theme xmlns:a="http://schemas.openxmlformats.org/drawingml/2006/main" name="PRINT Presentatie">
  <a:themeElements>
    <a:clrScheme name="ABN AMRO">
      <a:dk1>
        <a:sysClr val="windowText" lastClr="000000"/>
      </a:dk1>
      <a:lt1>
        <a:sysClr val="window" lastClr="FFFFFF"/>
      </a:lt1>
      <a:dk2>
        <a:srgbClr val="BBBEC3"/>
      </a:dk2>
      <a:lt2>
        <a:srgbClr val="54646C"/>
      </a:lt2>
      <a:accent1>
        <a:srgbClr val="005E5D"/>
      </a:accent1>
      <a:accent2>
        <a:srgbClr val="009286"/>
      </a:accent2>
      <a:accent3>
        <a:srgbClr val="55CBB7"/>
      </a:accent3>
      <a:accent4>
        <a:srgbClr val="006480"/>
      </a:accent4>
      <a:accent5>
        <a:srgbClr val="43ACC5"/>
      </a:accent5>
      <a:accent6>
        <a:srgbClr val="94C23C"/>
      </a:accent6>
      <a:hlink>
        <a:srgbClr val="004C4C"/>
      </a:hlink>
      <a:folHlink>
        <a:srgbClr val="009286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90000" tIns="54000" rIns="54000" bIns="72000" rtlCol="0">
        <a:spAutoFit/>
      </a:bodyPr>
      <a:lstStyle>
        <a:defPPr marL="273050" indent="-273050">
          <a:defRPr sz="1400" dirty="0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5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ACE90CC029DF743A23AA93431F11BB6" ma:contentTypeVersion="12" ma:contentTypeDescription="Een nieuw document maken." ma:contentTypeScope="" ma:versionID="8fa0794a056f0cc3df737ab5538b7f4b">
  <xsd:schema xmlns:xsd="http://www.w3.org/2001/XMLSchema" xmlns:xs="http://www.w3.org/2001/XMLSchema" xmlns:p="http://schemas.microsoft.com/office/2006/metadata/properties" xmlns:ns3="d906ccab-ff92-40b5-b7c8-85f605dcbf14" xmlns:ns4="e8ab2ce3-aeab-49da-967e-3a672bb3bc9d" targetNamespace="http://schemas.microsoft.com/office/2006/metadata/properties" ma:root="true" ma:fieldsID="0174ad4d513484ca4b87b31f8e8e143d" ns3:_="" ns4:_="">
    <xsd:import namespace="d906ccab-ff92-40b5-b7c8-85f605dcbf14"/>
    <xsd:import namespace="e8ab2ce3-aeab-49da-967e-3a672bb3bc9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06ccab-ff92-40b5-b7c8-85f605dcbf1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ab2ce3-aeab-49da-967e-3a672bb3bc9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Hint-hash delen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9D26BBA-8E60-4B6E-8996-5A52FAED16D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B5FF099-9AE5-4C0D-B731-8526272240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906ccab-ff92-40b5-b7c8-85f605dcbf14"/>
    <ds:schemaRef ds:uri="e8ab2ce3-aeab-49da-967e-3a672bb3bc9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642A1F2-BEC6-4AB6-B2DE-2E1F64B0266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826_R2a_CloudBees_PPT_wide_kd (1)</Template>
  <TotalTime>2189</TotalTime>
  <Words>1278</Words>
  <Application>Microsoft Macintosh PowerPoint</Application>
  <PresentationFormat>Breedbeeld</PresentationFormat>
  <Paragraphs>236</Paragraphs>
  <Slides>23</Slides>
  <Notes>17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12</vt:i4>
      </vt:variant>
      <vt:variant>
        <vt:lpstr>Thema</vt:lpstr>
      </vt:variant>
      <vt:variant>
        <vt:i4>8</vt:i4>
      </vt:variant>
      <vt:variant>
        <vt:lpstr>Diatitels</vt:lpstr>
      </vt:variant>
      <vt:variant>
        <vt:i4>23</vt:i4>
      </vt:variant>
    </vt:vector>
  </HeadingPairs>
  <TitlesOfParts>
    <vt:vector size="43" baseType="lpstr">
      <vt:lpstr>.HelveticaNeueDeskInterface-Regular</vt:lpstr>
      <vt:lpstr>Arial</vt:lpstr>
      <vt:lpstr>Calibri</vt:lpstr>
      <vt:lpstr>Circular Pro Bold</vt:lpstr>
      <vt:lpstr>Courier New</vt:lpstr>
      <vt:lpstr>Helvetica Light</vt:lpstr>
      <vt:lpstr>Kristen ITC</vt:lpstr>
      <vt:lpstr>Segoe UI Semibold</vt:lpstr>
      <vt:lpstr>Times New Roman</vt:lpstr>
      <vt:lpstr>Trebuchet MS</vt:lpstr>
      <vt:lpstr>Univers 45 Light</vt:lpstr>
      <vt:lpstr>Wingdings 3</vt:lpstr>
      <vt:lpstr>1_Change Mangement Consultancy widescreen</vt:lpstr>
      <vt:lpstr>2_Change Mangement Consultancy widescreen</vt:lpstr>
      <vt:lpstr>4_Change Mangement Consultancy widescreen</vt:lpstr>
      <vt:lpstr>6_Change Mangement Consultancy widescreen</vt:lpstr>
      <vt:lpstr>9_PRINT Presentatie</vt:lpstr>
      <vt:lpstr>JW slide master</vt:lpstr>
      <vt:lpstr>PRINT Presentatie</vt:lpstr>
      <vt:lpstr>5_Change Mangement Consultancy widescreen</vt:lpstr>
      <vt:lpstr>OCP Chapter 17 </vt:lpstr>
      <vt:lpstr>Introduction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1 Modules</vt:lpstr>
      <vt:lpstr>OCP CH11 Modules</vt:lpstr>
      <vt:lpstr>OCP CH11 Modules</vt:lpstr>
      <vt:lpstr>OCP CH11 Modules</vt:lpstr>
      <vt:lpstr>OCP CH11 Modules</vt:lpstr>
      <vt:lpstr>OCP CH17 Modules</vt:lpstr>
      <vt:lpstr>OCP CH17 Modules</vt:lpstr>
      <vt:lpstr>OCP CH17 Modules</vt:lpstr>
      <vt:lpstr>Java Modules General</vt:lpstr>
      <vt:lpstr>Do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CP CH 11</dc:title>
  <dc:subject/>
  <dc:creator>Roger Janssen</dc:creator>
  <cp:keywords/>
  <dc:description/>
  <cp:lastModifiedBy>Roger Janssen</cp:lastModifiedBy>
  <cp:revision>88</cp:revision>
  <cp:lastPrinted>2020-03-03T11:37:57Z</cp:lastPrinted>
  <dcterms:created xsi:type="dcterms:W3CDTF">2016-08-26T22:19:40Z</dcterms:created>
  <dcterms:modified xsi:type="dcterms:W3CDTF">2021-09-22T13:37:45Z</dcterms:modified>
  <cp:category/>
  <dc:language>en-US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ppVersion">
    <vt:lpwstr>16.0000</vt:lpwstr>
  </property>
  <property fmtid="{D5CDD505-2E9C-101B-9397-08002B2CF9AE}" pid="3" name="HiddenSlides">
    <vt:i4>0</vt:i4>
  </property>
  <property fmtid="{D5CDD505-2E9C-101B-9397-08002B2CF9AE}" pid="4" name="HyperlinksChanged">
    <vt:bool>false</vt:bool>
  </property>
  <property fmtid="{D5CDD505-2E9C-101B-9397-08002B2CF9AE}" pid="5" name="LinksUpToDate">
    <vt:bool>false</vt:bool>
  </property>
  <property fmtid="{D5CDD505-2E9C-101B-9397-08002B2CF9AE}" pid="6" name="MMClips">
    <vt:i4>0</vt:i4>
  </property>
  <property fmtid="{D5CDD505-2E9C-101B-9397-08002B2CF9AE}" pid="7" name="Notes">
    <vt:i4>8</vt:i4>
  </property>
  <property fmtid="{D5CDD505-2E9C-101B-9397-08002B2CF9AE}" pid="8" name="PresentationFormat">
    <vt:lpwstr>Widescreen</vt:lpwstr>
  </property>
  <property fmtid="{D5CDD505-2E9C-101B-9397-08002B2CF9AE}" pid="9" name="ScaleCrop">
    <vt:bool>false</vt:bool>
  </property>
  <property fmtid="{D5CDD505-2E9C-101B-9397-08002B2CF9AE}" pid="10" name="ShareDoc">
    <vt:bool>false</vt:bool>
  </property>
  <property fmtid="{D5CDD505-2E9C-101B-9397-08002B2CF9AE}" pid="11" name="Slides">
    <vt:i4>10</vt:i4>
  </property>
  <property fmtid="{D5CDD505-2E9C-101B-9397-08002B2CF9AE}" pid="12" name="ContentTypeId">
    <vt:lpwstr>0x0101000ACE90CC029DF743A23AA93431F11BB6</vt:lpwstr>
  </property>
  <property fmtid="{D5CDD505-2E9C-101B-9397-08002B2CF9AE}" pid="13" name="MSIP_Label_42ffcf47-be15-40bf-818d-0da39af9f75a_Enabled">
    <vt:lpwstr>true</vt:lpwstr>
  </property>
  <property fmtid="{D5CDD505-2E9C-101B-9397-08002B2CF9AE}" pid="14" name="MSIP_Label_42ffcf47-be15-40bf-818d-0da39af9f75a_SetDate">
    <vt:lpwstr>2021-08-11T07:21:47Z</vt:lpwstr>
  </property>
  <property fmtid="{D5CDD505-2E9C-101B-9397-08002B2CF9AE}" pid="15" name="MSIP_Label_42ffcf47-be15-40bf-818d-0da39af9f75a_Method">
    <vt:lpwstr>Privileged</vt:lpwstr>
  </property>
  <property fmtid="{D5CDD505-2E9C-101B-9397-08002B2CF9AE}" pid="16" name="MSIP_Label_42ffcf47-be15-40bf-818d-0da39af9f75a_Name">
    <vt:lpwstr>42ffcf47-be15-40bf-818d-0da39af9f75a</vt:lpwstr>
  </property>
  <property fmtid="{D5CDD505-2E9C-101B-9397-08002B2CF9AE}" pid="17" name="MSIP_Label_42ffcf47-be15-40bf-818d-0da39af9f75a_SiteId">
    <vt:lpwstr>3a15904d-3fd9-4256-a753-beb05cdf0c6d</vt:lpwstr>
  </property>
  <property fmtid="{D5CDD505-2E9C-101B-9397-08002B2CF9AE}" pid="18" name="MSIP_Label_42ffcf47-be15-40bf-818d-0da39af9f75a_ActionId">
    <vt:lpwstr>693c61da-e241-43de-9c00-dcf6e2b63a10</vt:lpwstr>
  </property>
  <property fmtid="{D5CDD505-2E9C-101B-9397-08002B2CF9AE}" pid="19" name="MSIP_Label_42ffcf47-be15-40bf-818d-0da39af9f75a_ContentBits">
    <vt:lpwstr>0</vt:lpwstr>
  </property>
</Properties>
</file>